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7" r:id="rId2"/>
  </p:sldMasterIdLst>
  <p:notesMasterIdLst>
    <p:notesMasterId r:id="rId11"/>
  </p:notesMasterIdLst>
  <p:sldIdLst>
    <p:sldId id="271" r:id="rId3"/>
    <p:sldId id="274" r:id="rId4"/>
    <p:sldId id="291" r:id="rId5"/>
    <p:sldId id="289" r:id="rId6"/>
    <p:sldId id="276" r:id="rId7"/>
    <p:sldId id="283" r:id="rId8"/>
    <p:sldId id="281" r:id="rId9"/>
    <p:sldId id="269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C9E2AB5-FAE3-45D7-B627-2F1B49961151}">
          <p14:sldIdLst>
            <p14:sldId id="271"/>
            <p14:sldId id="274"/>
            <p14:sldId id="291"/>
            <p14:sldId id="289"/>
            <p14:sldId id="276"/>
            <p14:sldId id="283"/>
            <p14:sldId id="281"/>
            <p14:sldId id="269"/>
          </p14:sldIdLst>
        </p14:section>
        <p14:section name="Раздел без заголовка" id="{8C941D7E-1E68-4493-A507-16F34CEA093A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1DE3"/>
    <a:srgbClr val="002570"/>
    <a:srgbClr val="79767C"/>
    <a:srgbClr val="004990"/>
    <a:srgbClr val="E50D31"/>
    <a:srgbClr val="00359E"/>
    <a:srgbClr val="0099FF"/>
    <a:srgbClr val="0066FF"/>
    <a:srgbClr val="3515AB"/>
    <a:srgbClr val="A89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54" autoAdjust="0"/>
  </p:normalViewPr>
  <p:slideViewPr>
    <p:cSldViewPr>
      <p:cViewPr>
        <p:scale>
          <a:sx n="100" d="100"/>
          <a:sy n="100" d="100"/>
        </p:scale>
        <p:origin x="-21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>
              <a:solidFill>
                <a:srgbClr val="E50D31"/>
              </a:solidFill>
            </a:ln>
          </c:spPr>
          <c:marker>
            <c:spPr>
              <a:solidFill>
                <a:srgbClr val="002060"/>
              </a:solidFill>
            </c:spPr>
          </c:marker>
          <c:dLbls>
            <c:txPr>
              <a:bodyPr/>
              <a:lstStyle/>
              <a:p>
                <a:pPr>
                  <a:defRPr sz="1600">
                    <a:solidFill>
                      <a:srgbClr val="00206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Лист1!$B$2:$B$8</c:f>
              <c:numCache>
                <c:formatCode>#,##0;[Red]#,##0</c:formatCode>
                <c:ptCount val="7"/>
                <c:pt idx="0">
                  <c:v>5873</c:v>
                </c:pt>
                <c:pt idx="1">
                  <c:v>6650</c:v>
                </c:pt>
                <c:pt idx="2">
                  <c:v>6770</c:v>
                </c:pt>
                <c:pt idx="3">
                  <c:v>7066</c:v>
                </c:pt>
                <c:pt idx="4">
                  <c:v>7316</c:v>
                </c:pt>
                <c:pt idx="5">
                  <c:v>7718</c:v>
                </c:pt>
                <c:pt idx="6">
                  <c:v>8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671360"/>
        <c:axId val="60592128"/>
      </c:lineChart>
      <c:catAx>
        <c:axId val="266713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60592128"/>
        <c:crosses val="autoZero"/>
        <c:auto val="1"/>
        <c:lblAlgn val="ctr"/>
        <c:lblOffset val="100"/>
        <c:noMultiLvlLbl val="0"/>
      </c:catAx>
      <c:valAx>
        <c:axId val="60592128"/>
        <c:scaling>
          <c:orientation val="minMax"/>
          <c:max val="9000"/>
          <c:min val="4000"/>
        </c:scaling>
        <c:delete val="1"/>
        <c:axPos val="l"/>
        <c:numFmt formatCode="#,##0;[Red]#,##0" sourceLinked="1"/>
        <c:majorTickMark val="out"/>
        <c:minorTickMark val="none"/>
        <c:tickLblPos val="nextTo"/>
        <c:crossAx val="26671360"/>
        <c:crosses val="autoZero"/>
        <c:crossBetween val="between"/>
        <c:majorUnit val="2000"/>
        <c:min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E935CE-EEBB-4C99-9131-D6378FBE524B}" type="doc">
      <dgm:prSet loTypeId="urn:microsoft.com/office/officeart/2005/8/layout/vList3" loCatId="picture" qsTypeId="urn:microsoft.com/office/officeart/2005/8/quickstyle/simple1" qsCatId="simple" csTypeId="urn:microsoft.com/office/officeart/2005/8/colors/accent1_2" csCatId="accent1" phldr="1"/>
      <dgm:spPr/>
    </dgm:pt>
    <dgm:pt modelId="{524B61FE-51A0-4B79-9A2C-BA0E10575A53}">
      <dgm:prSet phldrT="[Текст]"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социальная сфера – 74,9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78FF53AA-9287-4CBB-B8CB-2CDE8BCB5403}" type="parTrans" cxnId="{7C77E27A-B60D-4771-A751-A16A77BC5D37}">
      <dgm:prSet/>
      <dgm:spPr/>
      <dgm:t>
        <a:bodyPr/>
        <a:lstStyle/>
        <a:p>
          <a:endParaRPr lang="ru-RU"/>
        </a:p>
      </dgm:t>
    </dgm:pt>
    <dgm:pt modelId="{F685041F-AAE4-47DC-B6C9-AC5875AC6EAE}" type="sibTrans" cxnId="{7C77E27A-B60D-4771-A751-A16A77BC5D37}">
      <dgm:prSet/>
      <dgm:spPr/>
      <dgm:t>
        <a:bodyPr/>
        <a:lstStyle/>
        <a:p>
          <a:endParaRPr lang="ru-RU"/>
        </a:p>
      </dgm:t>
    </dgm:pt>
    <dgm:pt modelId="{6874DEE1-8B40-474A-9A05-48886500A7B3}">
      <dgm:prSet phldrT="[Текст]"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err="1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зигоссектор</a:t>
          </a:r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– 12,7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6ADD8FF5-2474-4A9E-8FCA-B975B98C643D}" type="parTrans" cxnId="{B2B46879-6EDD-4694-97E9-A5FD1B775338}">
      <dgm:prSet/>
      <dgm:spPr/>
      <dgm:t>
        <a:bodyPr/>
        <a:lstStyle/>
        <a:p>
          <a:endParaRPr lang="ru-RU"/>
        </a:p>
      </dgm:t>
    </dgm:pt>
    <dgm:pt modelId="{EAD0F201-E926-418E-BCEE-523C917573D2}" type="sibTrans" cxnId="{B2B46879-6EDD-4694-97E9-A5FD1B775338}">
      <dgm:prSet/>
      <dgm:spPr/>
      <dgm:t>
        <a:bodyPr/>
        <a:lstStyle/>
        <a:p>
          <a:endParaRPr lang="ru-RU"/>
        </a:p>
      </dgm:t>
    </dgm:pt>
    <dgm:pt modelId="{48F8155D-1E0F-4D13-AD00-0516EE8718C8}">
      <dgm:prSet phldrT="[Текст]"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СМИ – 1,7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F3EE74A3-2218-4BA5-8311-24C8CC57AEEB}" type="parTrans" cxnId="{A8513F50-F48B-4829-87B5-87FD492B0BE7}">
      <dgm:prSet/>
      <dgm:spPr/>
      <dgm:t>
        <a:bodyPr/>
        <a:lstStyle/>
        <a:p>
          <a:endParaRPr lang="ru-RU"/>
        </a:p>
      </dgm:t>
    </dgm:pt>
    <dgm:pt modelId="{0DF493BF-2797-4D59-884A-73B16BF07999}" type="sibTrans" cxnId="{A8513F50-F48B-4829-87B5-87FD492B0BE7}">
      <dgm:prSet/>
      <dgm:spPr/>
      <dgm:t>
        <a:bodyPr/>
        <a:lstStyle/>
        <a:p>
          <a:endParaRPr lang="ru-RU"/>
        </a:p>
      </dgm:t>
    </dgm:pt>
    <dgm:pt modelId="{CE54C98C-44C4-4330-875E-8EC2403DDC35}">
      <dgm:prSet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ЖКХ – 4,9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0B1E5775-D45B-46F7-904C-7DA0EE159958}" type="parTrans" cxnId="{E181718E-5AB4-421F-B756-5A2377D3810B}">
      <dgm:prSet/>
      <dgm:spPr/>
      <dgm:t>
        <a:bodyPr/>
        <a:lstStyle/>
        <a:p>
          <a:endParaRPr lang="ru-RU"/>
        </a:p>
      </dgm:t>
    </dgm:pt>
    <dgm:pt modelId="{2C262EDE-61EF-41C3-856A-1ECBC812066A}" type="sibTrans" cxnId="{E181718E-5AB4-421F-B756-5A2377D3810B}">
      <dgm:prSet/>
      <dgm:spPr/>
      <dgm:t>
        <a:bodyPr/>
        <a:lstStyle/>
        <a:p>
          <a:endParaRPr lang="ru-RU"/>
        </a:p>
      </dgm:t>
    </dgm:pt>
    <dgm:pt modelId="{CF09A75A-963A-4C41-863D-A2B4B095056D}">
      <dgm:prSet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ветеринария – 2,8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43535F06-7A46-4F15-B579-E5D0506EA324}" type="parTrans" cxnId="{79C6AE77-E3CF-40E1-AC46-C1E5AE9CF4B7}">
      <dgm:prSet/>
      <dgm:spPr/>
      <dgm:t>
        <a:bodyPr/>
        <a:lstStyle/>
        <a:p>
          <a:endParaRPr lang="ru-RU"/>
        </a:p>
      </dgm:t>
    </dgm:pt>
    <dgm:pt modelId="{F1DE832A-49BE-4534-8B77-B3D406EAB8E8}" type="sibTrans" cxnId="{79C6AE77-E3CF-40E1-AC46-C1E5AE9CF4B7}">
      <dgm:prSet/>
      <dgm:spPr/>
      <dgm:t>
        <a:bodyPr/>
        <a:lstStyle/>
        <a:p>
          <a:endParaRPr lang="ru-RU"/>
        </a:p>
      </dgm:t>
    </dgm:pt>
    <dgm:pt modelId="{68DD3957-2457-4FAE-927A-F82B7B53F3DC}">
      <dgm:prSet custT="1"/>
      <dgm:spPr>
        <a:solidFill>
          <a:schemeClr val="bg1"/>
        </a:solidFill>
        <a:ln w="19050">
          <a:solidFill>
            <a:schemeClr val="accent4">
              <a:lumMod val="75000"/>
            </a:schemeClr>
          </a:solidFill>
          <a:prstDash val="dash"/>
        </a:ln>
      </dgm:spPr>
      <dgm:t>
        <a:bodyPr/>
        <a:lstStyle/>
        <a:p>
          <a:pPr algn="r"/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прочие – 3%</a:t>
          </a:r>
          <a:endParaRPr lang="ru-RU" sz="1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8E620610-2822-4AD6-B2EC-5463D674A07F}" type="parTrans" cxnId="{61E7915C-B6D3-4123-A7FE-519F9DC18B27}">
      <dgm:prSet/>
      <dgm:spPr/>
      <dgm:t>
        <a:bodyPr/>
        <a:lstStyle/>
        <a:p>
          <a:endParaRPr lang="ru-RU"/>
        </a:p>
      </dgm:t>
    </dgm:pt>
    <dgm:pt modelId="{B898CAD3-11CF-4564-8E09-95A3A8573414}" type="sibTrans" cxnId="{61E7915C-B6D3-4123-A7FE-519F9DC18B27}">
      <dgm:prSet/>
      <dgm:spPr/>
      <dgm:t>
        <a:bodyPr/>
        <a:lstStyle/>
        <a:p>
          <a:endParaRPr lang="ru-RU"/>
        </a:p>
      </dgm:t>
    </dgm:pt>
    <dgm:pt modelId="{25F91D0F-1212-446F-8592-D866161E2729}" type="pres">
      <dgm:prSet presAssocID="{9BE935CE-EEBB-4C99-9131-D6378FBE524B}" presName="linearFlow" presStyleCnt="0">
        <dgm:presLayoutVars>
          <dgm:dir/>
          <dgm:resizeHandles val="exact"/>
        </dgm:presLayoutVars>
      </dgm:prSet>
      <dgm:spPr/>
    </dgm:pt>
    <dgm:pt modelId="{05D19DCA-9BFD-4164-B994-81957857F2CB}" type="pres">
      <dgm:prSet presAssocID="{524B61FE-51A0-4B79-9A2C-BA0E10575A53}" presName="composite" presStyleCnt="0"/>
      <dgm:spPr/>
    </dgm:pt>
    <dgm:pt modelId="{A1040FB2-DBC7-4135-90EA-D86AFDCD1F39}" type="pres">
      <dgm:prSet presAssocID="{524B61FE-51A0-4B79-9A2C-BA0E10575A53}" presName="imgShp" presStyleLbl="fgImgPlace1" presStyleIdx="0" presStyleCnt="6" custLinFactNeighborX="27588"/>
      <dgm:spPr>
        <a:solidFill>
          <a:srgbClr val="002060"/>
        </a:solidFill>
      </dgm:spPr>
    </dgm:pt>
    <dgm:pt modelId="{F55A7C75-5579-43B1-B822-45EB6D7D6F58}" type="pres">
      <dgm:prSet presAssocID="{524B61FE-51A0-4B79-9A2C-BA0E10575A53}" presName="txShp" presStyleLbl="node1" presStyleIdx="0" presStyleCnt="6" custLinFactNeighborX="61" custLinFactNeighborY="-38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426103-C74E-440F-BA01-6C58CDBC564F}" type="pres">
      <dgm:prSet presAssocID="{F685041F-AAE4-47DC-B6C9-AC5875AC6EAE}" presName="spacing" presStyleCnt="0"/>
      <dgm:spPr/>
    </dgm:pt>
    <dgm:pt modelId="{5D91E963-2846-4505-B161-5378CC295DBA}" type="pres">
      <dgm:prSet presAssocID="{6874DEE1-8B40-474A-9A05-48886500A7B3}" presName="composite" presStyleCnt="0"/>
      <dgm:spPr/>
    </dgm:pt>
    <dgm:pt modelId="{DE84C9FA-89F9-449D-B99D-B30E69761570}" type="pres">
      <dgm:prSet presAssocID="{6874DEE1-8B40-474A-9A05-48886500A7B3}" presName="imgShp" presStyleLbl="fgImgPlace1" presStyleIdx="1" presStyleCnt="6" custLinFactNeighborX="27588"/>
      <dgm:spPr>
        <a:solidFill>
          <a:srgbClr val="002060"/>
        </a:solidFill>
      </dgm:spPr>
    </dgm:pt>
    <dgm:pt modelId="{9EC268E4-41B7-4C28-8977-0D938A04E34E}" type="pres">
      <dgm:prSet presAssocID="{6874DEE1-8B40-474A-9A05-48886500A7B3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8EF3EA-B829-45C1-B4E1-5D23F6E9886A}" type="pres">
      <dgm:prSet presAssocID="{EAD0F201-E926-418E-BCEE-523C917573D2}" presName="spacing" presStyleCnt="0"/>
      <dgm:spPr/>
    </dgm:pt>
    <dgm:pt modelId="{48C408F0-DFA8-422F-850F-8D54BB0ADC91}" type="pres">
      <dgm:prSet presAssocID="{CE54C98C-44C4-4330-875E-8EC2403DDC35}" presName="composite" presStyleCnt="0"/>
      <dgm:spPr/>
    </dgm:pt>
    <dgm:pt modelId="{DF93815F-21A1-4F7F-9817-2B377664AD92}" type="pres">
      <dgm:prSet presAssocID="{CE54C98C-44C4-4330-875E-8EC2403DDC35}" presName="imgShp" presStyleLbl="fgImgPlace1" presStyleIdx="2" presStyleCnt="6" custLinFactNeighborX="27588"/>
      <dgm:spPr>
        <a:solidFill>
          <a:srgbClr val="002060"/>
        </a:solidFill>
      </dgm:spPr>
    </dgm:pt>
    <dgm:pt modelId="{66A12446-39BC-46AE-8451-5128DD7693B0}" type="pres">
      <dgm:prSet presAssocID="{CE54C98C-44C4-4330-875E-8EC2403DDC35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FECA8A-CD61-46B3-BA84-737978C9051D}" type="pres">
      <dgm:prSet presAssocID="{2C262EDE-61EF-41C3-856A-1ECBC812066A}" presName="spacing" presStyleCnt="0"/>
      <dgm:spPr/>
    </dgm:pt>
    <dgm:pt modelId="{CC4B148C-10A7-42F1-8B8C-03BFC192FD3D}" type="pres">
      <dgm:prSet presAssocID="{CF09A75A-963A-4C41-863D-A2B4B095056D}" presName="composite" presStyleCnt="0"/>
      <dgm:spPr/>
    </dgm:pt>
    <dgm:pt modelId="{0E4E6FA7-DCF2-4069-8A26-796E7BF1F632}" type="pres">
      <dgm:prSet presAssocID="{CF09A75A-963A-4C41-863D-A2B4B095056D}" presName="imgShp" presStyleLbl="fgImgPlace1" presStyleIdx="3" presStyleCnt="6" custLinFactNeighborX="27588"/>
      <dgm:spPr>
        <a:solidFill>
          <a:srgbClr val="002060"/>
        </a:solidFill>
      </dgm:spPr>
    </dgm:pt>
    <dgm:pt modelId="{545B12DC-C423-485D-BA9E-654DBB3BE7BF}" type="pres">
      <dgm:prSet presAssocID="{CF09A75A-963A-4C41-863D-A2B4B095056D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877275-927D-4838-8A01-005C404D763B}" type="pres">
      <dgm:prSet presAssocID="{F1DE832A-49BE-4534-8B77-B3D406EAB8E8}" presName="spacing" presStyleCnt="0"/>
      <dgm:spPr/>
    </dgm:pt>
    <dgm:pt modelId="{6CCE1711-BCA1-4AB8-BC89-867A6B955BFA}" type="pres">
      <dgm:prSet presAssocID="{48F8155D-1E0F-4D13-AD00-0516EE8718C8}" presName="composite" presStyleCnt="0"/>
      <dgm:spPr/>
    </dgm:pt>
    <dgm:pt modelId="{9503E7CB-AEAF-4B9D-BAF4-78AC0B028055}" type="pres">
      <dgm:prSet presAssocID="{48F8155D-1E0F-4D13-AD00-0516EE8718C8}" presName="imgShp" presStyleLbl="fgImgPlace1" presStyleIdx="4" presStyleCnt="6" custLinFactNeighborX="27588"/>
      <dgm:spPr>
        <a:solidFill>
          <a:srgbClr val="002060"/>
        </a:solidFill>
      </dgm:spPr>
    </dgm:pt>
    <dgm:pt modelId="{E497D58A-8560-4B8F-95B1-39B0EEA5F33F}" type="pres">
      <dgm:prSet presAssocID="{48F8155D-1E0F-4D13-AD00-0516EE8718C8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28127F-6DA9-4509-8799-9CE8ADC81C26}" type="pres">
      <dgm:prSet presAssocID="{0DF493BF-2797-4D59-884A-73B16BF07999}" presName="spacing" presStyleCnt="0"/>
      <dgm:spPr/>
    </dgm:pt>
    <dgm:pt modelId="{312A20C3-F402-4261-899D-58A67FFBF328}" type="pres">
      <dgm:prSet presAssocID="{68DD3957-2457-4FAE-927A-F82B7B53F3DC}" presName="composite" presStyleCnt="0"/>
      <dgm:spPr/>
    </dgm:pt>
    <dgm:pt modelId="{210141B4-F0BD-4F19-87EB-B3815FE21BF2}" type="pres">
      <dgm:prSet presAssocID="{68DD3957-2457-4FAE-927A-F82B7B53F3DC}" presName="imgShp" presStyleLbl="fgImgPlace1" presStyleIdx="5" presStyleCnt="6" custLinFactNeighborX="26385"/>
      <dgm:spPr>
        <a:solidFill>
          <a:srgbClr val="002060"/>
        </a:solidFill>
      </dgm:spPr>
    </dgm:pt>
    <dgm:pt modelId="{9BEC921B-66DB-4BD9-A306-CB416EBB4487}" type="pres">
      <dgm:prSet presAssocID="{68DD3957-2457-4FAE-927A-F82B7B53F3DC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C77E27A-B60D-4771-A751-A16A77BC5D37}" srcId="{9BE935CE-EEBB-4C99-9131-D6378FBE524B}" destId="{524B61FE-51A0-4B79-9A2C-BA0E10575A53}" srcOrd="0" destOrd="0" parTransId="{78FF53AA-9287-4CBB-B8CB-2CDE8BCB5403}" sibTransId="{F685041F-AAE4-47DC-B6C9-AC5875AC6EAE}"/>
    <dgm:cxn modelId="{B2B46879-6EDD-4694-97E9-A5FD1B775338}" srcId="{9BE935CE-EEBB-4C99-9131-D6378FBE524B}" destId="{6874DEE1-8B40-474A-9A05-48886500A7B3}" srcOrd="1" destOrd="0" parTransId="{6ADD8FF5-2474-4A9E-8FCA-B975B98C643D}" sibTransId="{EAD0F201-E926-418E-BCEE-523C917573D2}"/>
    <dgm:cxn modelId="{47D2A499-F975-4AF1-8216-414B8D080213}" type="presOf" srcId="{CF09A75A-963A-4C41-863D-A2B4B095056D}" destId="{545B12DC-C423-485D-BA9E-654DBB3BE7BF}" srcOrd="0" destOrd="0" presId="urn:microsoft.com/office/officeart/2005/8/layout/vList3"/>
    <dgm:cxn modelId="{22C41043-4107-4EC9-8342-1D1CAF87553B}" type="presOf" srcId="{524B61FE-51A0-4B79-9A2C-BA0E10575A53}" destId="{F55A7C75-5579-43B1-B822-45EB6D7D6F58}" srcOrd="0" destOrd="0" presId="urn:microsoft.com/office/officeart/2005/8/layout/vList3"/>
    <dgm:cxn modelId="{586EFA0B-4057-40E9-B66E-E2312138646C}" type="presOf" srcId="{9BE935CE-EEBB-4C99-9131-D6378FBE524B}" destId="{25F91D0F-1212-446F-8592-D866161E2729}" srcOrd="0" destOrd="0" presId="urn:microsoft.com/office/officeart/2005/8/layout/vList3"/>
    <dgm:cxn modelId="{EA8F9CE0-9209-4EB5-9F7B-C4D6F3D44DF1}" type="presOf" srcId="{68DD3957-2457-4FAE-927A-F82B7B53F3DC}" destId="{9BEC921B-66DB-4BD9-A306-CB416EBB4487}" srcOrd="0" destOrd="0" presId="urn:microsoft.com/office/officeart/2005/8/layout/vList3"/>
    <dgm:cxn modelId="{1860EE51-CB6A-4D5E-9A43-66D83B5343C2}" type="presOf" srcId="{CE54C98C-44C4-4330-875E-8EC2403DDC35}" destId="{66A12446-39BC-46AE-8451-5128DD7693B0}" srcOrd="0" destOrd="0" presId="urn:microsoft.com/office/officeart/2005/8/layout/vList3"/>
    <dgm:cxn modelId="{E975783E-1A27-4D51-92E1-4F33855F6856}" type="presOf" srcId="{48F8155D-1E0F-4D13-AD00-0516EE8718C8}" destId="{E497D58A-8560-4B8F-95B1-39B0EEA5F33F}" srcOrd="0" destOrd="0" presId="urn:microsoft.com/office/officeart/2005/8/layout/vList3"/>
    <dgm:cxn modelId="{86DC01CC-6526-481C-8A43-58B05C61FBE4}" type="presOf" srcId="{6874DEE1-8B40-474A-9A05-48886500A7B3}" destId="{9EC268E4-41B7-4C28-8977-0D938A04E34E}" srcOrd="0" destOrd="0" presId="urn:microsoft.com/office/officeart/2005/8/layout/vList3"/>
    <dgm:cxn modelId="{A8513F50-F48B-4829-87B5-87FD492B0BE7}" srcId="{9BE935CE-EEBB-4C99-9131-D6378FBE524B}" destId="{48F8155D-1E0F-4D13-AD00-0516EE8718C8}" srcOrd="4" destOrd="0" parTransId="{F3EE74A3-2218-4BA5-8311-24C8CC57AEEB}" sibTransId="{0DF493BF-2797-4D59-884A-73B16BF07999}"/>
    <dgm:cxn modelId="{E181718E-5AB4-421F-B756-5A2377D3810B}" srcId="{9BE935CE-EEBB-4C99-9131-D6378FBE524B}" destId="{CE54C98C-44C4-4330-875E-8EC2403DDC35}" srcOrd="2" destOrd="0" parTransId="{0B1E5775-D45B-46F7-904C-7DA0EE159958}" sibTransId="{2C262EDE-61EF-41C3-856A-1ECBC812066A}"/>
    <dgm:cxn modelId="{61E7915C-B6D3-4123-A7FE-519F9DC18B27}" srcId="{9BE935CE-EEBB-4C99-9131-D6378FBE524B}" destId="{68DD3957-2457-4FAE-927A-F82B7B53F3DC}" srcOrd="5" destOrd="0" parTransId="{8E620610-2822-4AD6-B2EC-5463D674A07F}" sibTransId="{B898CAD3-11CF-4564-8E09-95A3A8573414}"/>
    <dgm:cxn modelId="{79C6AE77-E3CF-40E1-AC46-C1E5AE9CF4B7}" srcId="{9BE935CE-EEBB-4C99-9131-D6378FBE524B}" destId="{CF09A75A-963A-4C41-863D-A2B4B095056D}" srcOrd="3" destOrd="0" parTransId="{43535F06-7A46-4F15-B579-E5D0506EA324}" sibTransId="{F1DE832A-49BE-4534-8B77-B3D406EAB8E8}"/>
    <dgm:cxn modelId="{CE8FEE57-C09A-40F7-BF95-6BE790329A92}" type="presParOf" srcId="{25F91D0F-1212-446F-8592-D866161E2729}" destId="{05D19DCA-9BFD-4164-B994-81957857F2CB}" srcOrd="0" destOrd="0" presId="urn:microsoft.com/office/officeart/2005/8/layout/vList3"/>
    <dgm:cxn modelId="{4AB02DBB-FAB1-4A75-AAAB-9199E5D398BB}" type="presParOf" srcId="{05D19DCA-9BFD-4164-B994-81957857F2CB}" destId="{A1040FB2-DBC7-4135-90EA-D86AFDCD1F39}" srcOrd="0" destOrd="0" presId="urn:microsoft.com/office/officeart/2005/8/layout/vList3"/>
    <dgm:cxn modelId="{953FDFEB-6B2E-4FF4-BC1E-6A1F3B845F28}" type="presParOf" srcId="{05D19DCA-9BFD-4164-B994-81957857F2CB}" destId="{F55A7C75-5579-43B1-B822-45EB6D7D6F58}" srcOrd="1" destOrd="0" presId="urn:microsoft.com/office/officeart/2005/8/layout/vList3"/>
    <dgm:cxn modelId="{79AFC50B-95EA-4459-AC79-F24086744200}" type="presParOf" srcId="{25F91D0F-1212-446F-8592-D866161E2729}" destId="{13426103-C74E-440F-BA01-6C58CDBC564F}" srcOrd="1" destOrd="0" presId="urn:microsoft.com/office/officeart/2005/8/layout/vList3"/>
    <dgm:cxn modelId="{4CD39870-C3D2-4C33-8CB8-390D49D22BE2}" type="presParOf" srcId="{25F91D0F-1212-446F-8592-D866161E2729}" destId="{5D91E963-2846-4505-B161-5378CC295DBA}" srcOrd="2" destOrd="0" presId="urn:microsoft.com/office/officeart/2005/8/layout/vList3"/>
    <dgm:cxn modelId="{136055CC-51CC-4FE8-A191-A6FAE78E6E7B}" type="presParOf" srcId="{5D91E963-2846-4505-B161-5378CC295DBA}" destId="{DE84C9FA-89F9-449D-B99D-B30E69761570}" srcOrd="0" destOrd="0" presId="urn:microsoft.com/office/officeart/2005/8/layout/vList3"/>
    <dgm:cxn modelId="{97A8D231-F899-4E80-8F4D-16F3D6E356F3}" type="presParOf" srcId="{5D91E963-2846-4505-B161-5378CC295DBA}" destId="{9EC268E4-41B7-4C28-8977-0D938A04E34E}" srcOrd="1" destOrd="0" presId="urn:microsoft.com/office/officeart/2005/8/layout/vList3"/>
    <dgm:cxn modelId="{B78FDC23-83E1-4A9C-B7F6-427076D068C8}" type="presParOf" srcId="{25F91D0F-1212-446F-8592-D866161E2729}" destId="{198EF3EA-B829-45C1-B4E1-5D23F6E9886A}" srcOrd="3" destOrd="0" presId="urn:microsoft.com/office/officeart/2005/8/layout/vList3"/>
    <dgm:cxn modelId="{D8D5C08A-666B-4338-9B7A-4C8A8A6ECFF7}" type="presParOf" srcId="{25F91D0F-1212-446F-8592-D866161E2729}" destId="{48C408F0-DFA8-422F-850F-8D54BB0ADC91}" srcOrd="4" destOrd="0" presId="urn:microsoft.com/office/officeart/2005/8/layout/vList3"/>
    <dgm:cxn modelId="{0984BE33-CE8C-473F-8A0D-2358BE69F14B}" type="presParOf" srcId="{48C408F0-DFA8-422F-850F-8D54BB0ADC91}" destId="{DF93815F-21A1-4F7F-9817-2B377664AD92}" srcOrd="0" destOrd="0" presId="urn:microsoft.com/office/officeart/2005/8/layout/vList3"/>
    <dgm:cxn modelId="{86816256-2576-4C95-8F2A-9D374E895B40}" type="presParOf" srcId="{48C408F0-DFA8-422F-850F-8D54BB0ADC91}" destId="{66A12446-39BC-46AE-8451-5128DD7693B0}" srcOrd="1" destOrd="0" presId="urn:microsoft.com/office/officeart/2005/8/layout/vList3"/>
    <dgm:cxn modelId="{D133A829-FB35-4D17-8E49-80CDCC2F5D14}" type="presParOf" srcId="{25F91D0F-1212-446F-8592-D866161E2729}" destId="{61FECA8A-CD61-46B3-BA84-737978C9051D}" srcOrd="5" destOrd="0" presId="urn:microsoft.com/office/officeart/2005/8/layout/vList3"/>
    <dgm:cxn modelId="{6CA57217-5569-4B6E-837F-DBA6E07D4FC3}" type="presParOf" srcId="{25F91D0F-1212-446F-8592-D866161E2729}" destId="{CC4B148C-10A7-42F1-8B8C-03BFC192FD3D}" srcOrd="6" destOrd="0" presId="urn:microsoft.com/office/officeart/2005/8/layout/vList3"/>
    <dgm:cxn modelId="{20A83176-591A-4ADE-A1D7-F09C19A693E1}" type="presParOf" srcId="{CC4B148C-10A7-42F1-8B8C-03BFC192FD3D}" destId="{0E4E6FA7-DCF2-4069-8A26-796E7BF1F632}" srcOrd="0" destOrd="0" presId="urn:microsoft.com/office/officeart/2005/8/layout/vList3"/>
    <dgm:cxn modelId="{79741D2B-148E-4E9A-A1E6-5A0C9C875BFA}" type="presParOf" srcId="{CC4B148C-10A7-42F1-8B8C-03BFC192FD3D}" destId="{545B12DC-C423-485D-BA9E-654DBB3BE7BF}" srcOrd="1" destOrd="0" presId="urn:microsoft.com/office/officeart/2005/8/layout/vList3"/>
    <dgm:cxn modelId="{EA098AAA-A499-428B-BF82-45EB03A81051}" type="presParOf" srcId="{25F91D0F-1212-446F-8592-D866161E2729}" destId="{F8877275-927D-4838-8A01-005C404D763B}" srcOrd="7" destOrd="0" presId="urn:microsoft.com/office/officeart/2005/8/layout/vList3"/>
    <dgm:cxn modelId="{9C6DE90E-F9CC-48F8-AD62-691AEEF8D279}" type="presParOf" srcId="{25F91D0F-1212-446F-8592-D866161E2729}" destId="{6CCE1711-BCA1-4AB8-BC89-867A6B955BFA}" srcOrd="8" destOrd="0" presId="urn:microsoft.com/office/officeart/2005/8/layout/vList3"/>
    <dgm:cxn modelId="{79119185-43BC-47E1-81A4-AE6B6D60AA8C}" type="presParOf" srcId="{6CCE1711-BCA1-4AB8-BC89-867A6B955BFA}" destId="{9503E7CB-AEAF-4B9D-BAF4-78AC0B028055}" srcOrd="0" destOrd="0" presId="urn:microsoft.com/office/officeart/2005/8/layout/vList3"/>
    <dgm:cxn modelId="{D1C37890-18D1-4ADE-B79A-02D248E842E8}" type="presParOf" srcId="{6CCE1711-BCA1-4AB8-BC89-867A6B955BFA}" destId="{E497D58A-8560-4B8F-95B1-39B0EEA5F33F}" srcOrd="1" destOrd="0" presId="urn:microsoft.com/office/officeart/2005/8/layout/vList3"/>
    <dgm:cxn modelId="{16073220-3793-4C2F-9D58-493F3DB0C535}" type="presParOf" srcId="{25F91D0F-1212-446F-8592-D866161E2729}" destId="{6D28127F-6DA9-4509-8799-9CE8ADC81C26}" srcOrd="9" destOrd="0" presId="urn:microsoft.com/office/officeart/2005/8/layout/vList3"/>
    <dgm:cxn modelId="{F60ABB20-BD76-4906-9726-4781067969FD}" type="presParOf" srcId="{25F91D0F-1212-446F-8592-D866161E2729}" destId="{312A20C3-F402-4261-899D-58A67FFBF328}" srcOrd="10" destOrd="0" presId="urn:microsoft.com/office/officeart/2005/8/layout/vList3"/>
    <dgm:cxn modelId="{85CA9AF7-BA1A-4B75-A198-6B25E761E2FF}" type="presParOf" srcId="{312A20C3-F402-4261-899D-58A67FFBF328}" destId="{210141B4-F0BD-4F19-87EB-B3815FE21BF2}" srcOrd="0" destOrd="0" presId="urn:microsoft.com/office/officeart/2005/8/layout/vList3"/>
    <dgm:cxn modelId="{B391B5B0-E3F2-485B-A8AE-B545978B600C}" type="presParOf" srcId="{312A20C3-F402-4261-899D-58A67FFBF328}" destId="{9BEC921B-66DB-4BD9-A306-CB416EBB448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5A7C75-5579-43B1-B822-45EB6D7D6F58}">
      <dsp:nvSpPr>
        <dsp:cNvPr id="0" name=""/>
        <dsp:cNvSpPr/>
      </dsp:nvSpPr>
      <dsp:spPr>
        <a:xfrm rot="10800000">
          <a:off x="1052840" y="0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социальная сфера – 74,9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8246" y="0"/>
        <a:ext cx="3498147" cy="541623"/>
      </dsp:txXfrm>
    </dsp:sp>
    <dsp:sp modelId="{A1040FB2-DBC7-4135-90EA-D86AFDCD1F39}">
      <dsp:nvSpPr>
        <dsp:cNvPr id="0" name=""/>
        <dsp:cNvSpPr/>
      </dsp:nvSpPr>
      <dsp:spPr>
        <a:xfrm>
          <a:off x="929235" y="2933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C268E4-41B7-4C28-8977-0D938A04E34E}">
      <dsp:nvSpPr>
        <dsp:cNvPr id="0" name=""/>
        <dsp:cNvSpPr/>
      </dsp:nvSpPr>
      <dsp:spPr>
        <a:xfrm rot="10800000">
          <a:off x="1050624" y="706235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err="1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зигоссектор</a:t>
          </a: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– 12,7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6030" y="706235"/>
        <a:ext cx="3498147" cy="541623"/>
      </dsp:txXfrm>
    </dsp:sp>
    <dsp:sp modelId="{DE84C9FA-89F9-449D-B99D-B30E69761570}">
      <dsp:nvSpPr>
        <dsp:cNvPr id="0" name=""/>
        <dsp:cNvSpPr/>
      </dsp:nvSpPr>
      <dsp:spPr>
        <a:xfrm>
          <a:off x="929235" y="706235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A12446-39BC-46AE-8451-5128DD7693B0}">
      <dsp:nvSpPr>
        <dsp:cNvPr id="0" name=""/>
        <dsp:cNvSpPr/>
      </dsp:nvSpPr>
      <dsp:spPr>
        <a:xfrm rot="10800000">
          <a:off x="1050624" y="1409537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ЖКХ – 4,9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6030" y="1409537"/>
        <a:ext cx="3498147" cy="541623"/>
      </dsp:txXfrm>
    </dsp:sp>
    <dsp:sp modelId="{DF93815F-21A1-4F7F-9817-2B377664AD92}">
      <dsp:nvSpPr>
        <dsp:cNvPr id="0" name=""/>
        <dsp:cNvSpPr/>
      </dsp:nvSpPr>
      <dsp:spPr>
        <a:xfrm>
          <a:off x="929235" y="1409537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5B12DC-C423-485D-BA9E-654DBB3BE7BF}">
      <dsp:nvSpPr>
        <dsp:cNvPr id="0" name=""/>
        <dsp:cNvSpPr/>
      </dsp:nvSpPr>
      <dsp:spPr>
        <a:xfrm rot="10800000">
          <a:off x="1050624" y="2112839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ветеринария – 2,8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6030" y="2112839"/>
        <a:ext cx="3498147" cy="541623"/>
      </dsp:txXfrm>
    </dsp:sp>
    <dsp:sp modelId="{0E4E6FA7-DCF2-4069-8A26-796E7BF1F632}">
      <dsp:nvSpPr>
        <dsp:cNvPr id="0" name=""/>
        <dsp:cNvSpPr/>
      </dsp:nvSpPr>
      <dsp:spPr>
        <a:xfrm>
          <a:off x="929235" y="2112839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97D58A-8560-4B8F-95B1-39B0EEA5F33F}">
      <dsp:nvSpPr>
        <dsp:cNvPr id="0" name=""/>
        <dsp:cNvSpPr/>
      </dsp:nvSpPr>
      <dsp:spPr>
        <a:xfrm rot="10800000">
          <a:off x="1050624" y="2816141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СМИ – 1,7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6030" y="2816141"/>
        <a:ext cx="3498147" cy="541623"/>
      </dsp:txXfrm>
    </dsp:sp>
    <dsp:sp modelId="{9503E7CB-AEAF-4B9D-BAF4-78AC0B028055}">
      <dsp:nvSpPr>
        <dsp:cNvPr id="0" name=""/>
        <dsp:cNvSpPr/>
      </dsp:nvSpPr>
      <dsp:spPr>
        <a:xfrm>
          <a:off x="929235" y="2816141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EC921B-66DB-4BD9-A306-CB416EBB4487}">
      <dsp:nvSpPr>
        <dsp:cNvPr id="0" name=""/>
        <dsp:cNvSpPr/>
      </dsp:nvSpPr>
      <dsp:spPr>
        <a:xfrm rot="10800000">
          <a:off x="1050624" y="3519443"/>
          <a:ext cx="3633553" cy="541623"/>
        </a:xfrm>
        <a:prstGeom prst="homePlate">
          <a:avLst/>
        </a:prstGeom>
        <a:solidFill>
          <a:schemeClr val="bg1"/>
        </a:solidFill>
        <a:ln w="19050" cap="flat" cmpd="sng" algn="ctr">
          <a:solidFill>
            <a:schemeClr val="accent4">
              <a:lumMod val="7500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8841" tIns="68580" rIns="128016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прочие – 3%</a:t>
          </a:r>
          <a:endParaRPr lang="ru-RU" sz="1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 rot="10800000">
        <a:off x="1186030" y="3519443"/>
        <a:ext cx="3498147" cy="541623"/>
      </dsp:txXfrm>
    </dsp:sp>
    <dsp:sp modelId="{210141B4-F0BD-4F19-87EB-B3815FE21BF2}">
      <dsp:nvSpPr>
        <dsp:cNvPr id="0" name=""/>
        <dsp:cNvSpPr/>
      </dsp:nvSpPr>
      <dsp:spPr>
        <a:xfrm>
          <a:off x="922719" y="3519443"/>
          <a:ext cx="541623" cy="541623"/>
        </a:xfrm>
        <a:prstGeom prst="ellipse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755</cdr:x>
      <cdr:y>0.01418</cdr:y>
    </cdr:from>
    <cdr:to>
      <cdr:x>0.77097</cdr:x>
      <cdr:y>0.88402</cdr:y>
    </cdr:to>
    <cdr:cxnSp macro="">
      <cdr:nvCxnSpPr>
        <cdr:cNvPr id="7" name="Straight Connector 226"/>
        <cdr:cNvCxnSpPr/>
      </cdr:nvCxnSpPr>
      <cdr:spPr>
        <a:xfrm xmlns:a="http://schemas.openxmlformats.org/drawingml/2006/main" flipH="1">
          <a:off x="4042023" y="37317"/>
          <a:ext cx="18050" cy="228833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04990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EEA53B-BDEE-4D68-AE71-74733CC26959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31A636-07B6-4F9F-B3CD-58EFE86802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7900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ововведения: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31A636-07B6-4F9F-B3CD-58EFE86802C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645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31A636-07B6-4F9F-B3CD-58EFE86802C6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4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59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8290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6977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2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1001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4647"/>
            <a:ext cx="5029200" cy="711081"/>
          </a:xfr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4E2B0-FEF2-4C8F-90A4-46C9D72643E3}" type="datetime1">
              <a:rPr lang="en-US" smtClean="0"/>
              <a:pPr/>
              <a:t>3/1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72503" y="6356358"/>
            <a:ext cx="571501" cy="365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40" rIns="0" bIns="91440" numCol="1" anchor="ctr" anchorCtr="1" compatLnSpc="1">
            <a:prstTxWarp prst="textNoShape">
              <a:avLst/>
            </a:prstTxWarp>
          </a:bodyPr>
          <a:lstStyle>
            <a:lvl1pPr algn="r">
              <a:defRPr lang="en-US" sz="14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610227" y="362139"/>
            <a:ext cx="3086100" cy="533400"/>
          </a:xfrm>
        </p:spPr>
        <p:txBody>
          <a:bodyPr anchor="ctr">
            <a:noAutofit/>
          </a:bodyPr>
          <a:lstStyle>
            <a:lvl1pPr marL="0" indent="0" algn="r">
              <a:buNone/>
              <a:defRPr sz="19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1926855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78" y="162000"/>
            <a:ext cx="8502250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878" y="1508760"/>
            <a:ext cx="8502250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8344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0712" y="3043730"/>
            <a:ext cx="4104647" cy="2137871"/>
          </a:xfrm>
        </p:spPr>
        <p:txBody>
          <a:bodyPr lIns="0" tIns="0" rIns="0" bIns="0" anchor="b" anchorCtr="0">
            <a:noAutofit/>
          </a:bodyPr>
          <a:lstStyle>
            <a:lvl1pPr algn="l">
              <a:defRPr lang="en-US" sz="40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60729" y="5357597"/>
            <a:ext cx="4111277" cy="738404"/>
          </a:xfr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9872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2892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490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2936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159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4008" y="2870644"/>
            <a:ext cx="4449167" cy="711081"/>
          </a:xfrm>
        </p:spPr>
        <p:txBody>
          <a:bodyPr>
            <a:normAutofit/>
          </a:bodyPr>
          <a:lstStyle>
            <a:lvl1pPr algn="ctr">
              <a:defRPr sz="3599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74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3061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3384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982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868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4183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190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7305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0401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624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17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2998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43"/>
            <a:ext cx="8229600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38426"/>
            <a:ext cx="8229600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fld id="{425404F2-BE9A-4460-8815-8F645183555F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1218987"/>
              <a:t>3/1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60"/>
            <a:ext cx="2133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fld id="{96E69268-9C8B-4EBF-A9EE-DC5DC2D48DC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1218987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471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9494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18986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480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37973" indent="0" algn="l" defTabSz="1218987" rtl="0" eaLnBrk="1" latinLnBrk="0" hangingPunct="1">
        <a:spcBef>
          <a:spcPct val="20000"/>
        </a:spcBef>
        <a:buFontTx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slidemodel.com/account/plans/?utm_source=free&amp;utm_medium=button&amp;utm_campaign=freetemplate" TargetMode="External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hyperlink" Target="http://slidemodel.com/account/plans/?utm_source=free&amp;utm_medium=button&amp;utm_campaign=freetemplate" TargetMode="External"/><Relationship Id="rId7" Type="http://schemas.openxmlformats.org/officeDocument/2006/relationships/diagramColors" Target="../diagrams/colors1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slidemodel.com/account/plans/?utm_source=free&amp;utm_medium=button&amp;utm_campaign=freetemplat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0.jpeg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17"/>
          <p:cNvSpPr txBox="1">
            <a:spLocks noChangeArrowheads="1"/>
          </p:cNvSpPr>
          <p:nvPr/>
        </p:nvSpPr>
        <p:spPr bwMode="auto">
          <a:xfrm>
            <a:off x="1182088" y="10619"/>
            <a:ext cx="7961915" cy="83099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МИНИСТЕРСТВО НАЦИОНАЛЬНОЙ ЭКОНОМИКИ 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РЕСПУБЛИКИ </a:t>
            </a: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КАЗАХСТАН</a:t>
            </a:r>
          </a:p>
        </p:txBody>
      </p:sp>
      <p:pic>
        <p:nvPicPr>
          <p:cNvPr id="3076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69"/>
          <a:stretch>
            <a:fillRect/>
          </a:stretch>
        </p:blipFill>
        <p:spPr bwMode="auto">
          <a:xfrm>
            <a:off x="29606" y="35999"/>
            <a:ext cx="869950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907417" y="27372"/>
            <a:ext cx="214312" cy="79851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195738" y="1628801"/>
            <a:ext cx="46085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авительственный час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85054" y="2204864"/>
            <a:ext cx="8958949" cy="11521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sz="36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Arial" pitchFamily="34" charset="0"/>
                <a:cs typeface="Arial" pitchFamily="34" charset="0"/>
              </a:rPr>
              <a:t>«О ходе проведения приватизации»</a:t>
            </a:r>
            <a:endParaRPr lang="ru-RU" sz="36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одзаголовок 2"/>
          <p:cNvSpPr txBox="1">
            <a:spLocks/>
          </p:cNvSpPr>
          <p:nvPr/>
        </p:nvSpPr>
        <p:spPr>
          <a:xfrm>
            <a:off x="3707904" y="6353944"/>
            <a:ext cx="5303155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22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. Астана, 2018 год</a:t>
            </a:r>
            <a:endParaRPr lang="ru-RU" sz="2200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Картинки по запросу приватизация аукцион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6" y="3951759"/>
            <a:ext cx="3545009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67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ounded Rectangle 32"/>
          <p:cNvSpPr/>
          <p:nvPr/>
        </p:nvSpPr>
        <p:spPr>
          <a:xfrm>
            <a:off x="3797153" y="1287814"/>
            <a:ext cx="2606707" cy="2117181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162" tIns="91416" rIns="914162" bIns="91416" numCol="1" anchor="ctr" anchorCtr="1" compatLnSpc="1">
            <a:prstTxWarp prst="textNoShape">
              <a:avLst/>
            </a:prstTxWarp>
          </a:bodyPr>
          <a:lstStyle/>
          <a:p>
            <a:endParaRPr lang="en-US" sz="1799" ker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505844" y="1272787"/>
            <a:ext cx="2634928" cy="2160240"/>
          </a:xfrm>
          <a:prstGeom prst="roundRect">
            <a:avLst/>
          </a:prstGeom>
          <a:gradFill flip="none" rotWithShape="1">
            <a:gsLst>
              <a:gs pos="0">
                <a:srgbClr val="F79646">
                  <a:lumMod val="75000"/>
                  <a:shade val="30000"/>
                  <a:satMod val="115000"/>
                </a:srgbClr>
              </a:gs>
              <a:gs pos="50000">
                <a:srgbClr val="F79646">
                  <a:lumMod val="75000"/>
                  <a:shade val="67500"/>
                  <a:satMod val="115000"/>
                </a:srgbClr>
              </a:gs>
              <a:gs pos="100000">
                <a:srgbClr val="F79646">
                  <a:lumMod val="75000"/>
                  <a:shade val="100000"/>
                  <a:satMod val="11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6505844" y="3529585"/>
            <a:ext cx="2634929" cy="2121159"/>
          </a:xfrm>
          <a:prstGeom prst="roundRect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3759957" y="3499705"/>
            <a:ext cx="2606707" cy="2161547"/>
          </a:xfrm>
          <a:prstGeom prst="round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ounded Rectangle 29"/>
          <p:cNvSpPr/>
          <p:nvPr/>
        </p:nvSpPr>
        <p:spPr>
          <a:xfrm>
            <a:off x="3844805" y="1484787"/>
            <a:ext cx="2496369" cy="1917315"/>
          </a:xfrm>
          <a:custGeom>
            <a:avLst/>
            <a:gdLst/>
            <a:ahLst/>
            <a:cxnLst/>
            <a:rect l="l" t="t" r="r" b="b"/>
            <a:pathLst>
              <a:path w="3957888" h="1542897">
                <a:moveTo>
                  <a:pt x="0" y="0"/>
                </a:moveTo>
                <a:lnTo>
                  <a:pt x="3957888" y="0"/>
                </a:lnTo>
                <a:lnTo>
                  <a:pt x="3957888" y="1181487"/>
                </a:lnTo>
                <a:cubicBezTo>
                  <a:pt x="3957888" y="1381088"/>
                  <a:pt x="3796079" y="1542897"/>
                  <a:pt x="3596479" y="1542897"/>
                </a:cubicBezTo>
                <a:lnTo>
                  <a:pt x="361410" y="1542897"/>
                </a:lnTo>
                <a:cubicBezTo>
                  <a:pt x="161809" y="1542897"/>
                  <a:pt x="0" y="1381088"/>
                  <a:pt x="0" y="1181487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ounded Rectangle 37"/>
          <p:cNvSpPr/>
          <p:nvPr/>
        </p:nvSpPr>
        <p:spPr>
          <a:xfrm>
            <a:off x="6559651" y="1484789"/>
            <a:ext cx="2532236" cy="1944215"/>
          </a:xfrm>
          <a:custGeom>
            <a:avLst/>
            <a:gdLst/>
            <a:ahLst/>
            <a:cxnLst/>
            <a:rect l="l" t="t" r="r" b="b"/>
            <a:pathLst>
              <a:path w="3957889" h="1562506">
                <a:moveTo>
                  <a:pt x="0" y="0"/>
                </a:moveTo>
                <a:lnTo>
                  <a:pt x="3957889" y="0"/>
                </a:lnTo>
                <a:lnTo>
                  <a:pt x="3957889" y="1201096"/>
                </a:lnTo>
                <a:cubicBezTo>
                  <a:pt x="3957888" y="1400697"/>
                  <a:pt x="3796079" y="1562506"/>
                  <a:pt x="3596478" y="1562506"/>
                </a:cubicBezTo>
                <a:lnTo>
                  <a:pt x="361411" y="1562506"/>
                </a:lnTo>
                <a:cubicBezTo>
                  <a:pt x="161809" y="1562506"/>
                  <a:pt x="0" y="1400697"/>
                  <a:pt x="0" y="1201096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ounded Rectangle 53"/>
          <p:cNvSpPr/>
          <p:nvPr/>
        </p:nvSpPr>
        <p:spPr>
          <a:xfrm>
            <a:off x="3827127" y="3696454"/>
            <a:ext cx="2500060" cy="1960067"/>
          </a:xfrm>
          <a:custGeom>
            <a:avLst/>
            <a:gdLst/>
            <a:ahLst/>
            <a:cxnLst/>
            <a:rect l="l" t="t" r="r" b="b"/>
            <a:pathLst>
              <a:path w="3957888" h="1499610">
                <a:moveTo>
                  <a:pt x="0" y="0"/>
                </a:moveTo>
                <a:lnTo>
                  <a:pt x="3957888" y="0"/>
                </a:lnTo>
                <a:lnTo>
                  <a:pt x="3957888" y="1138199"/>
                </a:lnTo>
                <a:cubicBezTo>
                  <a:pt x="3957888" y="1337800"/>
                  <a:pt x="3796079" y="1499609"/>
                  <a:pt x="3596479" y="1499610"/>
                </a:cubicBezTo>
                <a:lnTo>
                  <a:pt x="361410" y="1499610"/>
                </a:lnTo>
                <a:cubicBezTo>
                  <a:pt x="161809" y="1499609"/>
                  <a:pt x="0" y="1337800"/>
                  <a:pt x="0" y="1138199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ounded Rectangle 56"/>
          <p:cNvSpPr/>
          <p:nvPr/>
        </p:nvSpPr>
        <p:spPr>
          <a:xfrm>
            <a:off x="6558583" y="3696453"/>
            <a:ext cx="2530705" cy="1954291"/>
          </a:xfrm>
          <a:custGeom>
            <a:avLst/>
            <a:gdLst/>
            <a:ahLst/>
            <a:cxnLst/>
            <a:rect l="l" t="t" r="r" b="b"/>
            <a:pathLst>
              <a:path w="3957889" h="1509136">
                <a:moveTo>
                  <a:pt x="0" y="0"/>
                </a:moveTo>
                <a:lnTo>
                  <a:pt x="3957889" y="0"/>
                </a:lnTo>
                <a:lnTo>
                  <a:pt x="3957889" y="1147725"/>
                </a:lnTo>
                <a:cubicBezTo>
                  <a:pt x="3957888" y="1347326"/>
                  <a:pt x="3796079" y="1509135"/>
                  <a:pt x="3596478" y="1509136"/>
                </a:cubicBezTo>
                <a:lnTo>
                  <a:pt x="361411" y="1509136"/>
                </a:lnTo>
                <a:cubicBezTo>
                  <a:pt x="161809" y="1509135"/>
                  <a:pt x="0" y="1347326"/>
                  <a:pt x="0" y="1147725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>
            <a:innerShdw blurRad="2032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algn="ctr" defTabSz="914126"/>
            <a:endParaRPr lang="en-US" sz="1799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5570587" y="2727970"/>
            <a:ext cx="1670831" cy="1616347"/>
            <a:chOff x="2923026" y="2723221"/>
            <a:chExt cx="2363877" cy="2371508"/>
          </a:xfrm>
        </p:grpSpPr>
        <p:sp>
          <p:nvSpPr>
            <p:cNvPr id="50" name="Oval 49"/>
            <p:cNvSpPr/>
            <p:nvPr/>
          </p:nvSpPr>
          <p:spPr>
            <a:xfrm>
              <a:off x="2923026" y="2730853"/>
              <a:ext cx="2363877" cy="2363876"/>
            </a:xfrm>
            <a:prstGeom prst="ellipse">
              <a:avLst/>
            </a:prstGeom>
            <a:gradFill>
              <a:gsLst>
                <a:gs pos="9000">
                  <a:sysClr val="windowText" lastClr="000000">
                    <a:lumMod val="85000"/>
                    <a:lumOff val="15000"/>
                  </a:sysClr>
                </a:gs>
                <a:gs pos="43800">
                  <a:srgbClr val="FFFFFF"/>
                </a:gs>
                <a:gs pos="100000">
                  <a:sysClr val="windowText" lastClr="000000"/>
                </a:gs>
                <a:gs pos="60000">
                  <a:sysClr val="window" lastClr="FFFFFF"/>
                </a:gs>
              </a:gsLst>
              <a:lin ang="54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126"/>
              <a:endParaRPr lang="en-US" sz="1799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3109952" y="2923887"/>
              <a:ext cx="1977792" cy="1977793"/>
              <a:chOff x="5892368" y="3276599"/>
              <a:chExt cx="533400" cy="533400"/>
            </a:xfrm>
            <a:effectLst/>
          </p:grpSpPr>
          <p:sp>
            <p:nvSpPr>
              <p:cNvPr id="53" name="Oval 52"/>
              <p:cNvSpPr/>
              <p:nvPr/>
            </p:nvSpPr>
            <p:spPr>
              <a:xfrm>
                <a:off x="5892368" y="3276599"/>
                <a:ext cx="533400" cy="533400"/>
              </a:xfrm>
              <a:prstGeom prst="ellipse">
                <a:avLst/>
              </a:prstGeom>
              <a:gradFill>
                <a:gsLst>
                  <a:gs pos="35000">
                    <a:srgbClr val="00297A"/>
                  </a:gs>
                  <a:gs pos="70000">
                    <a:srgbClr val="0070C0"/>
                  </a:gs>
                  <a:gs pos="100000">
                    <a:srgbClr val="00B0F0"/>
                  </a:gs>
                </a:gsLst>
                <a:lin ang="5400000" scaled="1"/>
              </a:gradFill>
              <a:ln w="12700" cap="flat" cmpd="sng" algn="ctr">
                <a:solidFill>
                  <a:srgbClr val="00206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126">
                  <a:defRPr/>
                </a:pPr>
                <a:endParaRPr lang="en-US" sz="1799" ker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5906578" y="3296068"/>
                <a:ext cx="508266" cy="446900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65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914126">
                  <a:defRPr/>
                </a:pPr>
                <a:endParaRPr lang="en-US" sz="1799" kern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2" name="Rectangle 51"/>
            <p:cNvSpPr/>
            <p:nvPr/>
          </p:nvSpPr>
          <p:spPr>
            <a:xfrm>
              <a:off x="3149224" y="2723221"/>
              <a:ext cx="1938520" cy="234816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БОЛЕЕ </a:t>
              </a:r>
              <a:endParaRPr lang="ru-RU" sz="14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2800" b="1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43 000 </a:t>
              </a:r>
              <a:r>
                <a:rPr lang="ru-RU" sz="1400" b="1" dirty="0" smtClean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ОБЪЕКТОВ</a:t>
              </a:r>
              <a:endParaRPr lang="ru-RU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5" name="Заголовок 1"/>
          <p:cNvSpPr txBox="1">
            <a:spLocks/>
          </p:cNvSpPr>
          <p:nvPr/>
        </p:nvSpPr>
        <p:spPr>
          <a:xfrm>
            <a:off x="0" y="46282"/>
            <a:ext cx="9144000" cy="566137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ПРИВАТИЗАЦИЯ - «ПЕРВАЯ ВОЛНА»</a:t>
            </a:r>
            <a:endParaRPr lang="ru-RU" sz="26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8152" y="525104"/>
            <a:ext cx="9135848" cy="1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4" descr="C:\Users\zagidullina_g\Documents\images (2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7311" y="1556792"/>
            <a:ext cx="1371930" cy="113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" descr="C:\Users\zagidullina_g\Documents\images (3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510" y="1568927"/>
            <a:ext cx="1299922" cy="1032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Прямоугольник 61"/>
          <p:cNvSpPr/>
          <p:nvPr/>
        </p:nvSpPr>
        <p:spPr>
          <a:xfrm>
            <a:off x="6566275" y="1957890"/>
            <a:ext cx="175014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 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500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ов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мышленности</a:t>
            </a:r>
          </a:p>
        </p:txBody>
      </p:sp>
      <p:pic>
        <p:nvPicPr>
          <p:cNvPr id="63" name="Picture 6" descr="C:\Users\zagidullina_g\Documents\image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859" y="3787668"/>
            <a:ext cx="1009486" cy="1009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4904345" y="4201347"/>
            <a:ext cx="11188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 000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луг</a:t>
            </a:r>
          </a:p>
        </p:txBody>
      </p:sp>
      <p:pic>
        <p:nvPicPr>
          <p:cNvPr id="65" name="Picture 8" descr="C:\Users\zagidullina_g\Documents\images (6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184" y="3806512"/>
            <a:ext cx="802541" cy="80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Прямоугольник 65"/>
          <p:cNvSpPr/>
          <p:nvPr/>
        </p:nvSpPr>
        <p:spPr>
          <a:xfrm>
            <a:off x="6860242" y="4077072"/>
            <a:ext cx="15004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 500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льского 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озяйства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7" name="Picture 7" descr="C:\Users\zagidullina_g\Documents\images (1)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7314" y="4725148"/>
            <a:ext cx="788783" cy="788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4860032" y="4725145"/>
            <a:ext cx="14871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50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изаций коммунального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озяйства</a:t>
            </a:r>
          </a:p>
        </p:txBody>
      </p:sp>
      <p:pic>
        <p:nvPicPr>
          <p:cNvPr id="69" name="Picture 9" descr="C:\Users\zagidullina_g\Documents\images (2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083" y="4763283"/>
            <a:ext cx="855738" cy="63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Прямоугольник 69"/>
          <p:cNvSpPr/>
          <p:nvPr/>
        </p:nvSpPr>
        <p:spPr>
          <a:xfrm>
            <a:off x="6831944" y="4827735"/>
            <a:ext cx="15488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750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рганизаций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ранспорта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16017" y="1700812"/>
            <a:ext cx="155035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5 000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мущественных комплексов и </a:t>
            </a: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ов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движимости</a:t>
            </a:r>
          </a:p>
        </p:txBody>
      </p:sp>
      <p:sp>
        <p:nvSpPr>
          <p:cNvPr id="72" name="Up Ribbon 19"/>
          <p:cNvSpPr/>
          <p:nvPr/>
        </p:nvSpPr>
        <p:spPr>
          <a:xfrm>
            <a:off x="8152" y="908720"/>
            <a:ext cx="3566814" cy="2304256"/>
          </a:xfrm>
          <a:prstGeom prst="ribbon2">
            <a:avLst>
              <a:gd name="adj1" fmla="val 16667"/>
              <a:gd name="adj2" fmla="val 75000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СНОВНАЯ </a:t>
            </a:r>
            <a:r>
              <a:rPr lang="ru-RU" sz="2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Ь</a:t>
            </a:r>
          </a:p>
          <a:p>
            <a:pPr algn="ctr"/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здание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ыночной экономики и базовых условий для развития частного бизнеса</a:t>
            </a:r>
          </a:p>
        </p:txBody>
      </p:sp>
      <p:sp>
        <p:nvSpPr>
          <p:cNvPr id="74" name="Rounded Rectangle 13">
            <a:hlinkClick r:id="rId8"/>
          </p:cNvPr>
          <p:cNvSpPr/>
          <p:nvPr/>
        </p:nvSpPr>
        <p:spPr>
          <a:xfrm>
            <a:off x="8152" y="4992164"/>
            <a:ext cx="3566814" cy="1317159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ХОДЫ ОТ ПРИВАТИЗАЦИИ </a:t>
            </a:r>
            <a:r>
              <a:rPr lang="ru-RU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коло</a:t>
            </a:r>
          </a:p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360 </a:t>
            </a:r>
            <a:r>
              <a:rPr lang="ru-RU" sz="2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лрд. </a:t>
            </a:r>
            <a:r>
              <a:rPr lang="ru-RU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тенге</a:t>
            </a:r>
            <a:endParaRPr lang="ru-RU" sz="28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Freeform 19"/>
          <p:cNvSpPr>
            <a:spLocks noChangeAspect="1" noEditPoints="1"/>
          </p:cNvSpPr>
          <p:nvPr/>
        </p:nvSpPr>
        <p:spPr bwMode="auto">
          <a:xfrm rot="8700254" flipV="1">
            <a:off x="1938927" y="3641644"/>
            <a:ext cx="2114118" cy="762711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2399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8759545" y="6525344"/>
            <a:ext cx="233053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2</a:t>
            </a:r>
            <a:endParaRPr lang="ru-RU" sz="1200" b="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7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Прямоугольник 74"/>
          <p:cNvSpPr/>
          <p:nvPr/>
        </p:nvSpPr>
        <p:spPr>
          <a:xfrm>
            <a:off x="16446" y="692696"/>
            <a:ext cx="4445521" cy="100811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Значительная </a:t>
            </a:r>
            <a:r>
              <a:rPr lang="ru-RU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ля</a:t>
            </a:r>
          </a:p>
          <a:p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2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вазигоссектора</a:t>
            </a: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 экономик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535996" y="692696"/>
            <a:ext cx="4572508" cy="100811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Конкурентное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давление </a:t>
            </a:r>
            <a:r>
              <a:rPr lang="ru-RU" sz="20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вазигоссектора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0" y="0"/>
            <a:ext cx="9144000" cy="566137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ПРЕДПОСЫЛКИ - «ВТОРОЙ ВОЛНЫ»</a:t>
            </a:r>
            <a:endParaRPr lang="ru-RU" sz="26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152" y="525104"/>
            <a:ext cx="9135848" cy="1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Заголовок 1"/>
          <p:cNvSpPr txBox="1">
            <a:spLocks/>
          </p:cNvSpPr>
          <p:nvPr/>
        </p:nvSpPr>
        <p:spPr>
          <a:xfrm>
            <a:off x="8748464" y="6497960"/>
            <a:ext cx="233053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4" name="Прямоугольный треугольник 3"/>
          <p:cNvSpPr/>
          <p:nvPr/>
        </p:nvSpPr>
        <p:spPr>
          <a:xfrm>
            <a:off x="4519042" y="692696"/>
            <a:ext cx="965986" cy="1017637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ый треугольник 75"/>
          <p:cNvSpPr/>
          <p:nvPr/>
        </p:nvSpPr>
        <p:spPr>
          <a:xfrm rot="10800000">
            <a:off x="3512071" y="692696"/>
            <a:ext cx="965986" cy="1008112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647828784"/>
              </p:ext>
            </p:extLst>
          </p:nvPr>
        </p:nvGraphicFramePr>
        <p:xfrm>
          <a:off x="25921" y="2526432"/>
          <a:ext cx="5266159" cy="2630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9" name="Straight Connector 226"/>
          <p:cNvCxnSpPr/>
          <p:nvPr/>
        </p:nvCxnSpPr>
        <p:spPr>
          <a:xfrm flipH="1">
            <a:off x="4778499" y="2563749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ounded Rectangle 13">
            <a:hlinkClick r:id="rId3"/>
          </p:cNvPr>
          <p:cNvSpPr/>
          <p:nvPr/>
        </p:nvSpPr>
        <p:spPr>
          <a:xfrm>
            <a:off x="395536" y="5386932"/>
            <a:ext cx="4464496" cy="634355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914126"/>
            <a:r>
              <a:rPr lang="ru-RU" sz="1799" b="1" kern="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lang="ru-RU" sz="1799" b="1" kern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жегодный прирост в среднем 5%</a:t>
            </a:r>
            <a:endParaRPr lang="es-UY" sz="1799" b="1" kern="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42643" y="1844824"/>
            <a:ext cx="48873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личество объектов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вазигоссектора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по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стоянию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января)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Straight Connector 226"/>
          <p:cNvCxnSpPr/>
          <p:nvPr/>
        </p:nvCxnSpPr>
        <p:spPr>
          <a:xfrm flipH="1">
            <a:off x="510977" y="2563749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226"/>
          <p:cNvCxnSpPr/>
          <p:nvPr/>
        </p:nvCxnSpPr>
        <p:spPr>
          <a:xfrm flipH="1">
            <a:off x="1216199" y="2573274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226"/>
          <p:cNvCxnSpPr/>
          <p:nvPr/>
        </p:nvCxnSpPr>
        <p:spPr>
          <a:xfrm flipH="1">
            <a:off x="1936279" y="2573274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226"/>
          <p:cNvCxnSpPr/>
          <p:nvPr/>
        </p:nvCxnSpPr>
        <p:spPr>
          <a:xfrm flipH="1">
            <a:off x="2643642" y="2573274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226"/>
          <p:cNvCxnSpPr/>
          <p:nvPr/>
        </p:nvCxnSpPr>
        <p:spPr>
          <a:xfrm flipH="1">
            <a:off x="3366914" y="2573274"/>
            <a:ext cx="18050" cy="2288334"/>
          </a:xfrm>
          <a:prstGeom prst="line">
            <a:avLst/>
          </a:prstGeom>
          <a:ln>
            <a:solidFill>
              <a:srgbClr val="00499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575139439"/>
              </p:ext>
            </p:extLst>
          </p:nvPr>
        </p:nvGraphicFramePr>
        <p:xfrm>
          <a:off x="4403601" y="1942430"/>
          <a:ext cx="546399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7" name="Freeform 102"/>
          <p:cNvSpPr>
            <a:spLocks noEditPoints="1"/>
          </p:cNvSpPr>
          <p:nvPr/>
        </p:nvSpPr>
        <p:spPr bwMode="auto">
          <a:xfrm>
            <a:off x="5450365" y="2027794"/>
            <a:ext cx="384724" cy="432741"/>
          </a:xfrm>
          <a:custGeom>
            <a:avLst/>
            <a:gdLst>
              <a:gd name="T0" fmla="*/ 2363 w 3010"/>
              <a:gd name="T1" fmla="*/ 2515 h 3384"/>
              <a:gd name="T2" fmla="*/ 2175 w 3010"/>
              <a:gd name="T3" fmla="*/ 2631 h 3384"/>
              <a:gd name="T4" fmla="*/ 2182 w 3010"/>
              <a:gd name="T5" fmla="*/ 2426 h 3384"/>
              <a:gd name="T6" fmla="*/ 234 w 3010"/>
              <a:gd name="T7" fmla="*/ 2589 h 3384"/>
              <a:gd name="T8" fmla="*/ 25 w 3010"/>
              <a:gd name="T9" fmla="*/ 2544 h 3384"/>
              <a:gd name="T10" fmla="*/ 224 w 3010"/>
              <a:gd name="T11" fmla="*/ 2426 h 3384"/>
              <a:gd name="T12" fmla="*/ 2005 w 3010"/>
              <a:gd name="T13" fmla="*/ 2408 h 3384"/>
              <a:gd name="T14" fmla="*/ 2101 w 3010"/>
              <a:gd name="T15" fmla="*/ 3201 h 3384"/>
              <a:gd name="T16" fmla="*/ 1686 w 3010"/>
              <a:gd name="T17" fmla="*/ 2329 h 3384"/>
              <a:gd name="T18" fmla="*/ 721 w 3010"/>
              <a:gd name="T19" fmla="*/ 2330 h 3384"/>
              <a:gd name="T20" fmla="*/ 306 w 3010"/>
              <a:gd name="T21" fmla="*/ 3201 h 3384"/>
              <a:gd name="T22" fmla="*/ 401 w 3010"/>
              <a:gd name="T23" fmla="*/ 2408 h 3384"/>
              <a:gd name="T24" fmla="*/ 1203 w 3010"/>
              <a:gd name="T25" fmla="*/ 2109 h 3384"/>
              <a:gd name="T26" fmla="*/ 1535 w 3010"/>
              <a:gd name="T27" fmla="*/ 2244 h 3384"/>
              <a:gd name="T28" fmla="*/ 1674 w 3010"/>
              <a:gd name="T29" fmla="*/ 2569 h 3384"/>
              <a:gd name="T30" fmla="*/ 781 w 3010"/>
              <a:gd name="T31" fmla="*/ 2367 h 3384"/>
              <a:gd name="T32" fmla="*/ 1045 w 3010"/>
              <a:gd name="T33" fmla="*/ 2136 h 3384"/>
              <a:gd name="T34" fmla="*/ 2258 w 3010"/>
              <a:gd name="T35" fmla="*/ 2107 h 3384"/>
              <a:gd name="T36" fmla="*/ 2307 w 3010"/>
              <a:gd name="T37" fmla="*/ 2269 h 3384"/>
              <a:gd name="T38" fmla="*/ 2155 w 3010"/>
              <a:gd name="T39" fmla="*/ 2348 h 3384"/>
              <a:gd name="T40" fmla="*/ 2045 w 3010"/>
              <a:gd name="T41" fmla="*/ 2217 h 3384"/>
              <a:gd name="T42" fmla="*/ 2155 w 3010"/>
              <a:gd name="T43" fmla="*/ 2087 h 3384"/>
              <a:gd name="T44" fmla="*/ 337 w 3010"/>
              <a:gd name="T45" fmla="*/ 2143 h 3384"/>
              <a:gd name="T46" fmla="*/ 320 w 3010"/>
              <a:gd name="T47" fmla="*/ 2311 h 3384"/>
              <a:gd name="T48" fmla="*/ 149 w 3010"/>
              <a:gd name="T49" fmla="*/ 2328 h 3384"/>
              <a:gd name="T50" fmla="*/ 100 w 3010"/>
              <a:gd name="T51" fmla="*/ 2166 h 3384"/>
              <a:gd name="T52" fmla="*/ 1776 w 3010"/>
              <a:gd name="T53" fmla="*/ 1842 h 3384"/>
              <a:gd name="T54" fmla="*/ 1967 w 3010"/>
              <a:gd name="T55" fmla="*/ 1971 h 3384"/>
              <a:gd name="T56" fmla="*/ 1907 w 3010"/>
              <a:gd name="T57" fmla="*/ 2191 h 3384"/>
              <a:gd name="T58" fmla="*/ 1675 w 3010"/>
              <a:gd name="T59" fmla="*/ 2211 h 3384"/>
              <a:gd name="T60" fmla="*/ 1577 w 3010"/>
              <a:gd name="T61" fmla="*/ 2005 h 3384"/>
              <a:gd name="T62" fmla="*/ 1741 w 3010"/>
              <a:gd name="T63" fmla="*/ 1845 h 3384"/>
              <a:gd name="T64" fmla="*/ 785 w 3010"/>
              <a:gd name="T65" fmla="*/ 1912 h 3384"/>
              <a:gd name="T66" fmla="*/ 805 w 3010"/>
              <a:gd name="T67" fmla="*/ 2140 h 3384"/>
              <a:gd name="T68" fmla="*/ 593 w 3010"/>
              <a:gd name="T69" fmla="*/ 2235 h 3384"/>
              <a:gd name="T70" fmla="*/ 430 w 3010"/>
              <a:gd name="T71" fmla="*/ 2076 h 3384"/>
              <a:gd name="T72" fmla="*/ 528 w 3010"/>
              <a:gd name="T73" fmla="*/ 1869 h 3384"/>
              <a:gd name="T74" fmla="*/ 1329 w 3010"/>
              <a:gd name="T75" fmla="*/ 1474 h 3384"/>
              <a:gd name="T76" fmla="*/ 1499 w 3010"/>
              <a:gd name="T77" fmla="*/ 1696 h 3384"/>
              <a:gd name="T78" fmla="*/ 1400 w 3010"/>
              <a:gd name="T79" fmla="*/ 1960 h 3384"/>
              <a:gd name="T80" fmla="*/ 1116 w 3010"/>
              <a:gd name="T81" fmla="*/ 2020 h 3384"/>
              <a:gd name="T82" fmla="*/ 916 w 3010"/>
              <a:gd name="T83" fmla="*/ 1823 h 3384"/>
              <a:gd name="T84" fmla="*/ 977 w 3010"/>
              <a:gd name="T85" fmla="*/ 1547 h 3384"/>
              <a:gd name="T86" fmla="*/ 1484 w 3010"/>
              <a:gd name="T87" fmla="*/ 120 h 3384"/>
              <a:gd name="T88" fmla="*/ 1288 w 3010"/>
              <a:gd name="T89" fmla="*/ 236 h 3384"/>
              <a:gd name="T90" fmla="*/ 1288 w 3010"/>
              <a:gd name="T91" fmla="*/ 980 h 3384"/>
              <a:gd name="T92" fmla="*/ 1484 w 3010"/>
              <a:gd name="T93" fmla="*/ 1097 h 3384"/>
              <a:gd name="T94" fmla="*/ 2769 w 3010"/>
              <a:gd name="T95" fmla="*/ 1073 h 3384"/>
              <a:gd name="T96" fmla="*/ 2888 w 3010"/>
              <a:gd name="T97" fmla="*/ 882 h 3384"/>
              <a:gd name="T98" fmla="*/ 2797 w 3010"/>
              <a:gd name="T99" fmla="*/ 161 h 3384"/>
              <a:gd name="T100" fmla="*/ 2668 w 3010"/>
              <a:gd name="T101" fmla="*/ 0 h 3384"/>
              <a:gd name="T102" fmla="*/ 2939 w 3010"/>
              <a:gd name="T103" fmla="*/ 130 h 3384"/>
              <a:gd name="T104" fmla="*/ 3007 w 3010"/>
              <a:gd name="T105" fmla="*/ 928 h 3384"/>
              <a:gd name="T106" fmla="*/ 2840 w 3010"/>
              <a:gd name="T107" fmla="*/ 1170 h 3384"/>
              <a:gd name="T108" fmla="*/ 1604 w 3010"/>
              <a:gd name="T109" fmla="*/ 1216 h 3384"/>
              <a:gd name="T110" fmla="*/ 1242 w 3010"/>
              <a:gd name="T111" fmla="*/ 1118 h 3384"/>
              <a:gd name="T112" fmla="*/ 1143 w 3010"/>
              <a:gd name="T113" fmla="*/ 334 h 3384"/>
              <a:gd name="T114" fmla="*/ 1275 w 3010"/>
              <a:gd name="T115" fmla="*/ 70 h 3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10" h="3384">
                <a:moveTo>
                  <a:pt x="2182" y="2426"/>
                </a:moveTo>
                <a:lnTo>
                  <a:pt x="2218" y="2428"/>
                </a:lnTo>
                <a:lnTo>
                  <a:pt x="2253" y="2438"/>
                </a:lnTo>
                <a:lnTo>
                  <a:pt x="2285" y="2451"/>
                </a:lnTo>
                <a:lnTo>
                  <a:pt x="2315" y="2468"/>
                </a:lnTo>
                <a:lnTo>
                  <a:pt x="2340" y="2490"/>
                </a:lnTo>
                <a:lnTo>
                  <a:pt x="2363" y="2515"/>
                </a:lnTo>
                <a:lnTo>
                  <a:pt x="2381" y="2544"/>
                </a:lnTo>
                <a:lnTo>
                  <a:pt x="2394" y="2576"/>
                </a:lnTo>
                <a:lnTo>
                  <a:pt x="2403" y="2610"/>
                </a:lnTo>
                <a:lnTo>
                  <a:pt x="2406" y="2645"/>
                </a:lnTo>
                <a:lnTo>
                  <a:pt x="2406" y="3047"/>
                </a:lnTo>
                <a:lnTo>
                  <a:pt x="2175" y="3047"/>
                </a:lnTo>
                <a:lnTo>
                  <a:pt x="2175" y="2631"/>
                </a:lnTo>
                <a:lnTo>
                  <a:pt x="2172" y="2589"/>
                </a:lnTo>
                <a:lnTo>
                  <a:pt x="2165" y="2548"/>
                </a:lnTo>
                <a:lnTo>
                  <a:pt x="2153" y="2509"/>
                </a:lnTo>
                <a:lnTo>
                  <a:pt x="2137" y="2471"/>
                </a:lnTo>
                <a:lnTo>
                  <a:pt x="2118" y="2435"/>
                </a:lnTo>
                <a:lnTo>
                  <a:pt x="2150" y="2428"/>
                </a:lnTo>
                <a:lnTo>
                  <a:pt x="2182" y="2426"/>
                </a:lnTo>
                <a:close/>
                <a:moveTo>
                  <a:pt x="224" y="2426"/>
                </a:moveTo>
                <a:lnTo>
                  <a:pt x="257" y="2428"/>
                </a:lnTo>
                <a:lnTo>
                  <a:pt x="287" y="2435"/>
                </a:lnTo>
                <a:lnTo>
                  <a:pt x="269" y="2471"/>
                </a:lnTo>
                <a:lnTo>
                  <a:pt x="253" y="2509"/>
                </a:lnTo>
                <a:lnTo>
                  <a:pt x="241" y="2548"/>
                </a:lnTo>
                <a:lnTo>
                  <a:pt x="234" y="2589"/>
                </a:lnTo>
                <a:lnTo>
                  <a:pt x="232" y="2631"/>
                </a:lnTo>
                <a:lnTo>
                  <a:pt x="232" y="3047"/>
                </a:lnTo>
                <a:lnTo>
                  <a:pt x="0" y="3047"/>
                </a:lnTo>
                <a:lnTo>
                  <a:pt x="0" y="2645"/>
                </a:lnTo>
                <a:lnTo>
                  <a:pt x="3" y="2610"/>
                </a:lnTo>
                <a:lnTo>
                  <a:pt x="11" y="2576"/>
                </a:lnTo>
                <a:lnTo>
                  <a:pt x="25" y="2544"/>
                </a:lnTo>
                <a:lnTo>
                  <a:pt x="44" y="2515"/>
                </a:lnTo>
                <a:lnTo>
                  <a:pt x="66" y="2490"/>
                </a:lnTo>
                <a:lnTo>
                  <a:pt x="92" y="2468"/>
                </a:lnTo>
                <a:lnTo>
                  <a:pt x="122" y="2450"/>
                </a:lnTo>
                <a:lnTo>
                  <a:pt x="154" y="2436"/>
                </a:lnTo>
                <a:lnTo>
                  <a:pt x="189" y="2428"/>
                </a:lnTo>
                <a:lnTo>
                  <a:pt x="224" y="2426"/>
                </a:lnTo>
                <a:close/>
                <a:moveTo>
                  <a:pt x="1776" y="2314"/>
                </a:moveTo>
                <a:lnTo>
                  <a:pt x="1820" y="2318"/>
                </a:lnTo>
                <a:lnTo>
                  <a:pt x="1862" y="2326"/>
                </a:lnTo>
                <a:lnTo>
                  <a:pt x="1902" y="2339"/>
                </a:lnTo>
                <a:lnTo>
                  <a:pt x="1940" y="2358"/>
                </a:lnTo>
                <a:lnTo>
                  <a:pt x="1975" y="2380"/>
                </a:lnTo>
                <a:lnTo>
                  <a:pt x="2005" y="2408"/>
                </a:lnTo>
                <a:lnTo>
                  <a:pt x="2032" y="2438"/>
                </a:lnTo>
                <a:lnTo>
                  <a:pt x="2055" y="2471"/>
                </a:lnTo>
                <a:lnTo>
                  <a:pt x="2074" y="2508"/>
                </a:lnTo>
                <a:lnTo>
                  <a:pt x="2089" y="2547"/>
                </a:lnTo>
                <a:lnTo>
                  <a:pt x="2097" y="2588"/>
                </a:lnTo>
                <a:lnTo>
                  <a:pt x="2101" y="2631"/>
                </a:lnTo>
                <a:lnTo>
                  <a:pt x="2101" y="3201"/>
                </a:lnTo>
                <a:lnTo>
                  <a:pt x="1747" y="3201"/>
                </a:lnTo>
                <a:lnTo>
                  <a:pt x="1747" y="2569"/>
                </a:lnTo>
                <a:lnTo>
                  <a:pt x="1744" y="2517"/>
                </a:lnTo>
                <a:lnTo>
                  <a:pt x="1735" y="2467"/>
                </a:lnTo>
                <a:lnTo>
                  <a:pt x="1723" y="2420"/>
                </a:lnTo>
                <a:lnTo>
                  <a:pt x="1706" y="2373"/>
                </a:lnTo>
                <a:lnTo>
                  <a:pt x="1686" y="2329"/>
                </a:lnTo>
                <a:lnTo>
                  <a:pt x="1714" y="2322"/>
                </a:lnTo>
                <a:lnTo>
                  <a:pt x="1745" y="2317"/>
                </a:lnTo>
                <a:lnTo>
                  <a:pt x="1776" y="2314"/>
                </a:lnTo>
                <a:close/>
                <a:moveTo>
                  <a:pt x="630" y="2314"/>
                </a:moveTo>
                <a:lnTo>
                  <a:pt x="661" y="2317"/>
                </a:lnTo>
                <a:lnTo>
                  <a:pt x="691" y="2322"/>
                </a:lnTo>
                <a:lnTo>
                  <a:pt x="721" y="2330"/>
                </a:lnTo>
                <a:lnTo>
                  <a:pt x="700" y="2374"/>
                </a:lnTo>
                <a:lnTo>
                  <a:pt x="682" y="2420"/>
                </a:lnTo>
                <a:lnTo>
                  <a:pt x="669" y="2468"/>
                </a:lnTo>
                <a:lnTo>
                  <a:pt x="661" y="2517"/>
                </a:lnTo>
                <a:lnTo>
                  <a:pt x="659" y="2569"/>
                </a:lnTo>
                <a:lnTo>
                  <a:pt x="659" y="3201"/>
                </a:lnTo>
                <a:lnTo>
                  <a:pt x="306" y="3201"/>
                </a:lnTo>
                <a:lnTo>
                  <a:pt x="306" y="2631"/>
                </a:lnTo>
                <a:lnTo>
                  <a:pt x="309" y="2588"/>
                </a:lnTo>
                <a:lnTo>
                  <a:pt x="318" y="2547"/>
                </a:lnTo>
                <a:lnTo>
                  <a:pt x="332" y="2508"/>
                </a:lnTo>
                <a:lnTo>
                  <a:pt x="350" y="2471"/>
                </a:lnTo>
                <a:lnTo>
                  <a:pt x="373" y="2438"/>
                </a:lnTo>
                <a:lnTo>
                  <a:pt x="401" y="2408"/>
                </a:lnTo>
                <a:lnTo>
                  <a:pt x="431" y="2380"/>
                </a:lnTo>
                <a:lnTo>
                  <a:pt x="466" y="2358"/>
                </a:lnTo>
                <a:lnTo>
                  <a:pt x="504" y="2339"/>
                </a:lnTo>
                <a:lnTo>
                  <a:pt x="543" y="2326"/>
                </a:lnTo>
                <a:lnTo>
                  <a:pt x="585" y="2318"/>
                </a:lnTo>
                <a:lnTo>
                  <a:pt x="630" y="2314"/>
                </a:lnTo>
                <a:close/>
                <a:moveTo>
                  <a:pt x="1203" y="2109"/>
                </a:moveTo>
                <a:lnTo>
                  <a:pt x="1258" y="2112"/>
                </a:lnTo>
                <a:lnTo>
                  <a:pt x="1310" y="2122"/>
                </a:lnTo>
                <a:lnTo>
                  <a:pt x="1362" y="2136"/>
                </a:lnTo>
                <a:lnTo>
                  <a:pt x="1410" y="2157"/>
                </a:lnTo>
                <a:lnTo>
                  <a:pt x="1455" y="2181"/>
                </a:lnTo>
                <a:lnTo>
                  <a:pt x="1497" y="2211"/>
                </a:lnTo>
                <a:lnTo>
                  <a:pt x="1535" y="2244"/>
                </a:lnTo>
                <a:lnTo>
                  <a:pt x="1570" y="2282"/>
                </a:lnTo>
                <a:lnTo>
                  <a:pt x="1600" y="2323"/>
                </a:lnTo>
                <a:lnTo>
                  <a:pt x="1625" y="2367"/>
                </a:lnTo>
                <a:lnTo>
                  <a:pt x="1646" y="2414"/>
                </a:lnTo>
                <a:lnTo>
                  <a:pt x="1661" y="2463"/>
                </a:lnTo>
                <a:lnTo>
                  <a:pt x="1670" y="2515"/>
                </a:lnTo>
                <a:lnTo>
                  <a:pt x="1674" y="2569"/>
                </a:lnTo>
                <a:lnTo>
                  <a:pt x="1674" y="3384"/>
                </a:lnTo>
                <a:lnTo>
                  <a:pt x="733" y="3384"/>
                </a:lnTo>
                <a:lnTo>
                  <a:pt x="733" y="2569"/>
                </a:lnTo>
                <a:lnTo>
                  <a:pt x="737" y="2515"/>
                </a:lnTo>
                <a:lnTo>
                  <a:pt x="746" y="2463"/>
                </a:lnTo>
                <a:lnTo>
                  <a:pt x="761" y="2414"/>
                </a:lnTo>
                <a:lnTo>
                  <a:pt x="781" y="2367"/>
                </a:lnTo>
                <a:lnTo>
                  <a:pt x="807" y="2323"/>
                </a:lnTo>
                <a:lnTo>
                  <a:pt x="836" y="2282"/>
                </a:lnTo>
                <a:lnTo>
                  <a:pt x="871" y="2244"/>
                </a:lnTo>
                <a:lnTo>
                  <a:pt x="910" y="2211"/>
                </a:lnTo>
                <a:lnTo>
                  <a:pt x="952" y="2181"/>
                </a:lnTo>
                <a:lnTo>
                  <a:pt x="997" y="2157"/>
                </a:lnTo>
                <a:lnTo>
                  <a:pt x="1045" y="2136"/>
                </a:lnTo>
                <a:lnTo>
                  <a:pt x="1095" y="2122"/>
                </a:lnTo>
                <a:lnTo>
                  <a:pt x="1149" y="2112"/>
                </a:lnTo>
                <a:lnTo>
                  <a:pt x="1203" y="2109"/>
                </a:lnTo>
                <a:close/>
                <a:moveTo>
                  <a:pt x="2182" y="2085"/>
                </a:moveTo>
                <a:lnTo>
                  <a:pt x="2210" y="2087"/>
                </a:lnTo>
                <a:lnTo>
                  <a:pt x="2235" y="2095"/>
                </a:lnTo>
                <a:lnTo>
                  <a:pt x="2258" y="2107"/>
                </a:lnTo>
                <a:lnTo>
                  <a:pt x="2278" y="2124"/>
                </a:lnTo>
                <a:lnTo>
                  <a:pt x="2295" y="2143"/>
                </a:lnTo>
                <a:lnTo>
                  <a:pt x="2307" y="2166"/>
                </a:lnTo>
                <a:lnTo>
                  <a:pt x="2315" y="2190"/>
                </a:lnTo>
                <a:lnTo>
                  <a:pt x="2318" y="2217"/>
                </a:lnTo>
                <a:lnTo>
                  <a:pt x="2315" y="2244"/>
                </a:lnTo>
                <a:lnTo>
                  <a:pt x="2307" y="2269"/>
                </a:lnTo>
                <a:lnTo>
                  <a:pt x="2295" y="2292"/>
                </a:lnTo>
                <a:lnTo>
                  <a:pt x="2278" y="2311"/>
                </a:lnTo>
                <a:lnTo>
                  <a:pt x="2258" y="2328"/>
                </a:lnTo>
                <a:lnTo>
                  <a:pt x="2235" y="2340"/>
                </a:lnTo>
                <a:lnTo>
                  <a:pt x="2210" y="2348"/>
                </a:lnTo>
                <a:lnTo>
                  <a:pt x="2182" y="2350"/>
                </a:lnTo>
                <a:lnTo>
                  <a:pt x="2155" y="2348"/>
                </a:lnTo>
                <a:lnTo>
                  <a:pt x="2129" y="2340"/>
                </a:lnTo>
                <a:lnTo>
                  <a:pt x="2106" y="2328"/>
                </a:lnTo>
                <a:lnTo>
                  <a:pt x="2086" y="2311"/>
                </a:lnTo>
                <a:lnTo>
                  <a:pt x="2069" y="2292"/>
                </a:lnTo>
                <a:lnTo>
                  <a:pt x="2056" y="2269"/>
                </a:lnTo>
                <a:lnTo>
                  <a:pt x="2048" y="2244"/>
                </a:lnTo>
                <a:lnTo>
                  <a:pt x="2045" y="2217"/>
                </a:lnTo>
                <a:lnTo>
                  <a:pt x="2048" y="2190"/>
                </a:lnTo>
                <a:lnTo>
                  <a:pt x="2056" y="2166"/>
                </a:lnTo>
                <a:lnTo>
                  <a:pt x="2069" y="2143"/>
                </a:lnTo>
                <a:lnTo>
                  <a:pt x="2086" y="2124"/>
                </a:lnTo>
                <a:lnTo>
                  <a:pt x="2106" y="2107"/>
                </a:lnTo>
                <a:lnTo>
                  <a:pt x="2129" y="2095"/>
                </a:lnTo>
                <a:lnTo>
                  <a:pt x="2155" y="2087"/>
                </a:lnTo>
                <a:lnTo>
                  <a:pt x="2182" y="2085"/>
                </a:lnTo>
                <a:close/>
                <a:moveTo>
                  <a:pt x="224" y="2085"/>
                </a:moveTo>
                <a:lnTo>
                  <a:pt x="252" y="2087"/>
                </a:lnTo>
                <a:lnTo>
                  <a:pt x="277" y="2095"/>
                </a:lnTo>
                <a:lnTo>
                  <a:pt x="300" y="2107"/>
                </a:lnTo>
                <a:lnTo>
                  <a:pt x="320" y="2124"/>
                </a:lnTo>
                <a:lnTo>
                  <a:pt x="337" y="2143"/>
                </a:lnTo>
                <a:lnTo>
                  <a:pt x="349" y="2166"/>
                </a:lnTo>
                <a:lnTo>
                  <a:pt x="358" y="2190"/>
                </a:lnTo>
                <a:lnTo>
                  <a:pt x="360" y="2217"/>
                </a:lnTo>
                <a:lnTo>
                  <a:pt x="358" y="2244"/>
                </a:lnTo>
                <a:lnTo>
                  <a:pt x="349" y="2269"/>
                </a:lnTo>
                <a:lnTo>
                  <a:pt x="337" y="2292"/>
                </a:lnTo>
                <a:lnTo>
                  <a:pt x="320" y="2311"/>
                </a:lnTo>
                <a:lnTo>
                  <a:pt x="300" y="2328"/>
                </a:lnTo>
                <a:lnTo>
                  <a:pt x="277" y="2340"/>
                </a:lnTo>
                <a:lnTo>
                  <a:pt x="252" y="2348"/>
                </a:lnTo>
                <a:lnTo>
                  <a:pt x="224" y="2350"/>
                </a:lnTo>
                <a:lnTo>
                  <a:pt x="197" y="2348"/>
                </a:lnTo>
                <a:lnTo>
                  <a:pt x="172" y="2340"/>
                </a:lnTo>
                <a:lnTo>
                  <a:pt x="149" y="2328"/>
                </a:lnTo>
                <a:lnTo>
                  <a:pt x="128" y="2311"/>
                </a:lnTo>
                <a:lnTo>
                  <a:pt x="112" y="2292"/>
                </a:lnTo>
                <a:lnTo>
                  <a:pt x="100" y="2269"/>
                </a:lnTo>
                <a:lnTo>
                  <a:pt x="91" y="2244"/>
                </a:lnTo>
                <a:lnTo>
                  <a:pt x="88" y="2217"/>
                </a:lnTo>
                <a:lnTo>
                  <a:pt x="91" y="2190"/>
                </a:lnTo>
                <a:lnTo>
                  <a:pt x="100" y="2166"/>
                </a:lnTo>
                <a:lnTo>
                  <a:pt x="112" y="2143"/>
                </a:lnTo>
                <a:lnTo>
                  <a:pt x="128" y="2124"/>
                </a:lnTo>
                <a:lnTo>
                  <a:pt x="149" y="2107"/>
                </a:lnTo>
                <a:lnTo>
                  <a:pt x="172" y="2095"/>
                </a:lnTo>
                <a:lnTo>
                  <a:pt x="197" y="2087"/>
                </a:lnTo>
                <a:lnTo>
                  <a:pt x="224" y="2085"/>
                </a:lnTo>
                <a:close/>
                <a:moveTo>
                  <a:pt x="1776" y="1842"/>
                </a:moveTo>
                <a:lnTo>
                  <a:pt x="1813" y="1845"/>
                </a:lnTo>
                <a:lnTo>
                  <a:pt x="1848" y="1854"/>
                </a:lnTo>
                <a:lnTo>
                  <a:pt x="1879" y="1869"/>
                </a:lnTo>
                <a:lnTo>
                  <a:pt x="1907" y="1889"/>
                </a:lnTo>
                <a:lnTo>
                  <a:pt x="1932" y="1912"/>
                </a:lnTo>
                <a:lnTo>
                  <a:pt x="1952" y="1940"/>
                </a:lnTo>
                <a:lnTo>
                  <a:pt x="1967" y="1971"/>
                </a:lnTo>
                <a:lnTo>
                  <a:pt x="1977" y="2005"/>
                </a:lnTo>
                <a:lnTo>
                  <a:pt x="1980" y="2040"/>
                </a:lnTo>
                <a:lnTo>
                  <a:pt x="1977" y="2076"/>
                </a:lnTo>
                <a:lnTo>
                  <a:pt x="1967" y="2109"/>
                </a:lnTo>
                <a:lnTo>
                  <a:pt x="1952" y="2140"/>
                </a:lnTo>
                <a:lnTo>
                  <a:pt x="1932" y="2168"/>
                </a:lnTo>
                <a:lnTo>
                  <a:pt x="1907" y="2191"/>
                </a:lnTo>
                <a:lnTo>
                  <a:pt x="1879" y="2211"/>
                </a:lnTo>
                <a:lnTo>
                  <a:pt x="1848" y="2226"/>
                </a:lnTo>
                <a:lnTo>
                  <a:pt x="1813" y="2235"/>
                </a:lnTo>
                <a:lnTo>
                  <a:pt x="1776" y="2239"/>
                </a:lnTo>
                <a:lnTo>
                  <a:pt x="1741" y="2235"/>
                </a:lnTo>
                <a:lnTo>
                  <a:pt x="1706" y="2226"/>
                </a:lnTo>
                <a:lnTo>
                  <a:pt x="1675" y="2211"/>
                </a:lnTo>
                <a:lnTo>
                  <a:pt x="1646" y="2191"/>
                </a:lnTo>
                <a:lnTo>
                  <a:pt x="1622" y="2168"/>
                </a:lnTo>
                <a:lnTo>
                  <a:pt x="1602" y="2140"/>
                </a:lnTo>
                <a:lnTo>
                  <a:pt x="1586" y="2109"/>
                </a:lnTo>
                <a:lnTo>
                  <a:pt x="1577" y="2076"/>
                </a:lnTo>
                <a:lnTo>
                  <a:pt x="1574" y="2040"/>
                </a:lnTo>
                <a:lnTo>
                  <a:pt x="1577" y="2005"/>
                </a:lnTo>
                <a:lnTo>
                  <a:pt x="1586" y="1971"/>
                </a:lnTo>
                <a:lnTo>
                  <a:pt x="1602" y="1940"/>
                </a:lnTo>
                <a:lnTo>
                  <a:pt x="1622" y="1912"/>
                </a:lnTo>
                <a:lnTo>
                  <a:pt x="1646" y="1889"/>
                </a:lnTo>
                <a:lnTo>
                  <a:pt x="1675" y="1869"/>
                </a:lnTo>
                <a:lnTo>
                  <a:pt x="1706" y="1854"/>
                </a:lnTo>
                <a:lnTo>
                  <a:pt x="1741" y="1845"/>
                </a:lnTo>
                <a:lnTo>
                  <a:pt x="1776" y="1842"/>
                </a:lnTo>
                <a:close/>
                <a:moveTo>
                  <a:pt x="630" y="1842"/>
                </a:moveTo>
                <a:lnTo>
                  <a:pt x="666" y="1845"/>
                </a:lnTo>
                <a:lnTo>
                  <a:pt x="700" y="1854"/>
                </a:lnTo>
                <a:lnTo>
                  <a:pt x="731" y="1869"/>
                </a:lnTo>
                <a:lnTo>
                  <a:pt x="760" y="1889"/>
                </a:lnTo>
                <a:lnTo>
                  <a:pt x="785" y="1912"/>
                </a:lnTo>
                <a:lnTo>
                  <a:pt x="805" y="1940"/>
                </a:lnTo>
                <a:lnTo>
                  <a:pt x="819" y="1971"/>
                </a:lnTo>
                <a:lnTo>
                  <a:pt x="829" y="2005"/>
                </a:lnTo>
                <a:lnTo>
                  <a:pt x="832" y="2040"/>
                </a:lnTo>
                <a:lnTo>
                  <a:pt x="829" y="2076"/>
                </a:lnTo>
                <a:lnTo>
                  <a:pt x="819" y="2109"/>
                </a:lnTo>
                <a:lnTo>
                  <a:pt x="805" y="2140"/>
                </a:lnTo>
                <a:lnTo>
                  <a:pt x="785" y="2168"/>
                </a:lnTo>
                <a:lnTo>
                  <a:pt x="760" y="2191"/>
                </a:lnTo>
                <a:lnTo>
                  <a:pt x="731" y="2211"/>
                </a:lnTo>
                <a:lnTo>
                  <a:pt x="700" y="2226"/>
                </a:lnTo>
                <a:lnTo>
                  <a:pt x="666" y="2235"/>
                </a:lnTo>
                <a:lnTo>
                  <a:pt x="630" y="2239"/>
                </a:lnTo>
                <a:lnTo>
                  <a:pt x="593" y="2235"/>
                </a:lnTo>
                <a:lnTo>
                  <a:pt x="559" y="2226"/>
                </a:lnTo>
                <a:lnTo>
                  <a:pt x="528" y="2211"/>
                </a:lnTo>
                <a:lnTo>
                  <a:pt x="499" y="2191"/>
                </a:lnTo>
                <a:lnTo>
                  <a:pt x="474" y="2168"/>
                </a:lnTo>
                <a:lnTo>
                  <a:pt x="454" y="2140"/>
                </a:lnTo>
                <a:lnTo>
                  <a:pt x="440" y="2109"/>
                </a:lnTo>
                <a:lnTo>
                  <a:pt x="430" y="2076"/>
                </a:lnTo>
                <a:lnTo>
                  <a:pt x="427" y="2040"/>
                </a:lnTo>
                <a:lnTo>
                  <a:pt x="430" y="2005"/>
                </a:lnTo>
                <a:lnTo>
                  <a:pt x="440" y="1971"/>
                </a:lnTo>
                <a:lnTo>
                  <a:pt x="454" y="1940"/>
                </a:lnTo>
                <a:lnTo>
                  <a:pt x="474" y="1912"/>
                </a:lnTo>
                <a:lnTo>
                  <a:pt x="499" y="1889"/>
                </a:lnTo>
                <a:lnTo>
                  <a:pt x="528" y="1869"/>
                </a:lnTo>
                <a:lnTo>
                  <a:pt x="559" y="1854"/>
                </a:lnTo>
                <a:lnTo>
                  <a:pt x="593" y="1845"/>
                </a:lnTo>
                <a:lnTo>
                  <a:pt x="630" y="1842"/>
                </a:lnTo>
                <a:close/>
                <a:moveTo>
                  <a:pt x="1203" y="1446"/>
                </a:moveTo>
                <a:lnTo>
                  <a:pt x="1248" y="1450"/>
                </a:lnTo>
                <a:lnTo>
                  <a:pt x="1289" y="1459"/>
                </a:lnTo>
                <a:lnTo>
                  <a:pt x="1329" y="1474"/>
                </a:lnTo>
                <a:lnTo>
                  <a:pt x="1366" y="1493"/>
                </a:lnTo>
                <a:lnTo>
                  <a:pt x="1400" y="1519"/>
                </a:lnTo>
                <a:lnTo>
                  <a:pt x="1429" y="1547"/>
                </a:lnTo>
                <a:lnTo>
                  <a:pt x="1454" y="1580"/>
                </a:lnTo>
                <a:lnTo>
                  <a:pt x="1475" y="1616"/>
                </a:lnTo>
                <a:lnTo>
                  <a:pt x="1490" y="1655"/>
                </a:lnTo>
                <a:lnTo>
                  <a:pt x="1499" y="1696"/>
                </a:lnTo>
                <a:lnTo>
                  <a:pt x="1502" y="1739"/>
                </a:lnTo>
                <a:lnTo>
                  <a:pt x="1499" y="1782"/>
                </a:lnTo>
                <a:lnTo>
                  <a:pt x="1490" y="1823"/>
                </a:lnTo>
                <a:lnTo>
                  <a:pt x="1475" y="1862"/>
                </a:lnTo>
                <a:lnTo>
                  <a:pt x="1454" y="1898"/>
                </a:lnTo>
                <a:lnTo>
                  <a:pt x="1429" y="1931"/>
                </a:lnTo>
                <a:lnTo>
                  <a:pt x="1400" y="1960"/>
                </a:lnTo>
                <a:lnTo>
                  <a:pt x="1366" y="1985"/>
                </a:lnTo>
                <a:lnTo>
                  <a:pt x="1329" y="2005"/>
                </a:lnTo>
                <a:lnTo>
                  <a:pt x="1289" y="2020"/>
                </a:lnTo>
                <a:lnTo>
                  <a:pt x="1248" y="2029"/>
                </a:lnTo>
                <a:lnTo>
                  <a:pt x="1203" y="2032"/>
                </a:lnTo>
                <a:lnTo>
                  <a:pt x="1158" y="2029"/>
                </a:lnTo>
                <a:lnTo>
                  <a:pt x="1116" y="2020"/>
                </a:lnTo>
                <a:lnTo>
                  <a:pt x="1076" y="2005"/>
                </a:lnTo>
                <a:lnTo>
                  <a:pt x="1040" y="1985"/>
                </a:lnTo>
                <a:lnTo>
                  <a:pt x="1006" y="1960"/>
                </a:lnTo>
                <a:lnTo>
                  <a:pt x="977" y="1931"/>
                </a:lnTo>
                <a:lnTo>
                  <a:pt x="952" y="1898"/>
                </a:lnTo>
                <a:lnTo>
                  <a:pt x="932" y="1862"/>
                </a:lnTo>
                <a:lnTo>
                  <a:pt x="916" y="1823"/>
                </a:lnTo>
                <a:lnTo>
                  <a:pt x="907" y="1782"/>
                </a:lnTo>
                <a:lnTo>
                  <a:pt x="903" y="1739"/>
                </a:lnTo>
                <a:lnTo>
                  <a:pt x="907" y="1696"/>
                </a:lnTo>
                <a:lnTo>
                  <a:pt x="916" y="1655"/>
                </a:lnTo>
                <a:lnTo>
                  <a:pt x="932" y="1616"/>
                </a:lnTo>
                <a:lnTo>
                  <a:pt x="952" y="1580"/>
                </a:lnTo>
                <a:lnTo>
                  <a:pt x="977" y="1547"/>
                </a:lnTo>
                <a:lnTo>
                  <a:pt x="1006" y="1519"/>
                </a:lnTo>
                <a:lnTo>
                  <a:pt x="1040" y="1493"/>
                </a:lnTo>
                <a:lnTo>
                  <a:pt x="1076" y="1474"/>
                </a:lnTo>
                <a:lnTo>
                  <a:pt x="1116" y="1459"/>
                </a:lnTo>
                <a:lnTo>
                  <a:pt x="1158" y="1450"/>
                </a:lnTo>
                <a:lnTo>
                  <a:pt x="1203" y="1446"/>
                </a:lnTo>
                <a:close/>
                <a:moveTo>
                  <a:pt x="1484" y="120"/>
                </a:moveTo>
                <a:lnTo>
                  <a:pt x="1448" y="123"/>
                </a:lnTo>
                <a:lnTo>
                  <a:pt x="1414" y="131"/>
                </a:lnTo>
                <a:lnTo>
                  <a:pt x="1383" y="144"/>
                </a:lnTo>
                <a:lnTo>
                  <a:pt x="1355" y="161"/>
                </a:lnTo>
                <a:lnTo>
                  <a:pt x="1328" y="183"/>
                </a:lnTo>
                <a:lnTo>
                  <a:pt x="1306" y="208"/>
                </a:lnTo>
                <a:lnTo>
                  <a:pt x="1288" y="236"/>
                </a:lnTo>
                <a:lnTo>
                  <a:pt x="1275" y="267"/>
                </a:lnTo>
                <a:lnTo>
                  <a:pt x="1266" y="299"/>
                </a:lnTo>
                <a:lnTo>
                  <a:pt x="1264" y="334"/>
                </a:lnTo>
                <a:lnTo>
                  <a:pt x="1264" y="882"/>
                </a:lnTo>
                <a:lnTo>
                  <a:pt x="1266" y="917"/>
                </a:lnTo>
                <a:lnTo>
                  <a:pt x="1275" y="950"/>
                </a:lnTo>
                <a:lnTo>
                  <a:pt x="1288" y="980"/>
                </a:lnTo>
                <a:lnTo>
                  <a:pt x="1306" y="1009"/>
                </a:lnTo>
                <a:lnTo>
                  <a:pt x="1328" y="1034"/>
                </a:lnTo>
                <a:lnTo>
                  <a:pt x="1355" y="1055"/>
                </a:lnTo>
                <a:lnTo>
                  <a:pt x="1383" y="1073"/>
                </a:lnTo>
                <a:lnTo>
                  <a:pt x="1414" y="1086"/>
                </a:lnTo>
                <a:lnTo>
                  <a:pt x="1448" y="1094"/>
                </a:lnTo>
                <a:lnTo>
                  <a:pt x="1484" y="1097"/>
                </a:lnTo>
                <a:lnTo>
                  <a:pt x="1728" y="1097"/>
                </a:lnTo>
                <a:lnTo>
                  <a:pt x="1728" y="1365"/>
                </a:lnTo>
                <a:lnTo>
                  <a:pt x="2002" y="1097"/>
                </a:lnTo>
                <a:lnTo>
                  <a:pt x="2668" y="1097"/>
                </a:lnTo>
                <a:lnTo>
                  <a:pt x="2704" y="1094"/>
                </a:lnTo>
                <a:lnTo>
                  <a:pt x="2737" y="1086"/>
                </a:lnTo>
                <a:lnTo>
                  <a:pt x="2769" y="1073"/>
                </a:lnTo>
                <a:lnTo>
                  <a:pt x="2797" y="1055"/>
                </a:lnTo>
                <a:lnTo>
                  <a:pt x="2822" y="1034"/>
                </a:lnTo>
                <a:lnTo>
                  <a:pt x="2844" y="1009"/>
                </a:lnTo>
                <a:lnTo>
                  <a:pt x="2862" y="980"/>
                </a:lnTo>
                <a:lnTo>
                  <a:pt x="2876" y="950"/>
                </a:lnTo>
                <a:lnTo>
                  <a:pt x="2884" y="917"/>
                </a:lnTo>
                <a:lnTo>
                  <a:pt x="2888" y="882"/>
                </a:lnTo>
                <a:lnTo>
                  <a:pt x="2888" y="334"/>
                </a:lnTo>
                <a:lnTo>
                  <a:pt x="2884" y="299"/>
                </a:lnTo>
                <a:lnTo>
                  <a:pt x="2876" y="267"/>
                </a:lnTo>
                <a:lnTo>
                  <a:pt x="2862" y="236"/>
                </a:lnTo>
                <a:lnTo>
                  <a:pt x="2844" y="208"/>
                </a:lnTo>
                <a:lnTo>
                  <a:pt x="2822" y="183"/>
                </a:lnTo>
                <a:lnTo>
                  <a:pt x="2797" y="161"/>
                </a:lnTo>
                <a:lnTo>
                  <a:pt x="2769" y="144"/>
                </a:lnTo>
                <a:lnTo>
                  <a:pt x="2737" y="131"/>
                </a:lnTo>
                <a:lnTo>
                  <a:pt x="2704" y="123"/>
                </a:lnTo>
                <a:lnTo>
                  <a:pt x="2668" y="120"/>
                </a:lnTo>
                <a:lnTo>
                  <a:pt x="1484" y="120"/>
                </a:lnTo>
                <a:close/>
                <a:moveTo>
                  <a:pt x="1484" y="0"/>
                </a:moveTo>
                <a:lnTo>
                  <a:pt x="2668" y="0"/>
                </a:lnTo>
                <a:lnTo>
                  <a:pt x="2714" y="3"/>
                </a:lnTo>
                <a:lnTo>
                  <a:pt x="2759" y="12"/>
                </a:lnTo>
                <a:lnTo>
                  <a:pt x="2801" y="27"/>
                </a:lnTo>
                <a:lnTo>
                  <a:pt x="2840" y="46"/>
                </a:lnTo>
                <a:lnTo>
                  <a:pt x="2877" y="70"/>
                </a:lnTo>
                <a:lnTo>
                  <a:pt x="2910" y="97"/>
                </a:lnTo>
                <a:lnTo>
                  <a:pt x="2939" y="130"/>
                </a:lnTo>
                <a:lnTo>
                  <a:pt x="2963" y="165"/>
                </a:lnTo>
                <a:lnTo>
                  <a:pt x="2983" y="204"/>
                </a:lnTo>
                <a:lnTo>
                  <a:pt x="2998" y="245"/>
                </a:lnTo>
                <a:lnTo>
                  <a:pt x="3007" y="288"/>
                </a:lnTo>
                <a:lnTo>
                  <a:pt x="3010" y="334"/>
                </a:lnTo>
                <a:lnTo>
                  <a:pt x="3010" y="882"/>
                </a:lnTo>
                <a:lnTo>
                  <a:pt x="3007" y="928"/>
                </a:lnTo>
                <a:lnTo>
                  <a:pt x="2998" y="971"/>
                </a:lnTo>
                <a:lnTo>
                  <a:pt x="2983" y="1012"/>
                </a:lnTo>
                <a:lnTo>
                  <a:pt x="2963" y="1051"/>
                </a:lnTo>
                <a:lnTo>
                  <a:pt x="2939" y="1086"/>
                </a:lnTo>
                <a:lnTo>
                  <a:pt x="2910" y="1118"/>
                </a:lnTo>
                <a:lnTo>
                  <a:pt x="2877" y="1146"/>
                </a:lnTo>
                <a:lnTo>
                  <a:pt x="2840" y="1170"/>
                </a:lnTo>
                <a:lnTo>
                  <a:pt x="2801" y="1190"/>
                </a:lnTo>
                <a:lnTo>
                  <a:pt x="2759" y="1204"/>
                </a:lnTo>
                <a:lnTo>
                  <a:pt x="2714" y="1213"/>
                </a:lnTo>
                <a:lnTo>
                  <a:pt x="2668" y="1216"/>
                </a:lnTo>
                <a:lnTo>
                  <a:pt x="2053" y="1216"/>
                </a:lnTo>
                <a:lnTo>
                  <a:pt x="1604" y="1654"/>
                </a:lnTo>
                <a:lnTo>
                  <a:pt x="1604" y="1216"/>
                </a:lnTo>
                <a:lnTo>
                  <a:pt x="1484" y="1216"/>
                </a:lnTo>
                <a:lnTo>
                  <a:pt x="1437" y="1213"/>
                </a:lnTo>
                <a:lnTo>
                  <a:pt x="1393" y="1204"/>
                </a:lnTo>
                <a:lnTo>
                  <a:pt x="1351" y="1190"/>
                </a:lnTo>
                <a:lnTo>
                  <a:pt x="1312" y="1170"/>
                </a:lnTo>
                <a:lnTo>
                  <a:pt x="1275" y="1146"/>
                </a:lnTo>
                <a:lnTo>
                  <a:pt x="1242" y="1118"/>
                </a:lnTo>
                <a:lnTo>
                  <a:pt x="1214" y="1086"/>
                </a:lnTo>
                <a:lnTo>
                  <a:pt x="1189" y="1051"/>
                </a:lnTo>
                <a:lnTo>
                  <a:pt x="1169" y="1012"/>
                </a:lnTo>
                <a:lnTo>
                  <a:pt x="1154" y="971"/>
                </a:lnTo>
                <a:lnTo>
                  <a:pt x="1146" y="928"/>
                </a:lnTo>
                <a:lnTo>
                  <a:pt x="1143" y="882"/>
                </a:lnTo>
                <a:lnTo>
                  <a:pt x="1143" y="334"/>
                </a:lnTo>
                <a:lnTo>
                  <a:pt x="1145" y="288"/>
                </a:lnTo>
                <a:lnTo>
                  <a:pt x="1154" y="245"/>
                </a:lnTo>
                <a:lnTo>
                  <a:pt x="1169" y="204"/>
                </a:lnTo>
                <a:lnTo>
                  <a:pt x="1189" y="165"/>
                </a:lnTo>
                <a:lnTo>
                  <a:pt x="1213" y="130"/>
                </a:lnTo>
                <a:lnTo>
                  <a:pt x="1242" y="97"/>
                </a:lnTo>
                <a:lnTo>
                  <a:pt x="1275" y="70"/>
                </a:lnTo>
                <a:lnTo>
                  <a:pt x="1312" y="46"/>
                </a:lnTo>
                <a:lnTo>
                  <a:pt x="1350" y="27"/>
                </a:lnTo>
                <a:lnTo>
                  <a:pt x="1393" y="12"/>
                </a:lnTo>
                <a:lnTo>
                  <a:pt x="1437" y="3"/>
                </a:lnTo>
                <a:lnTo>
                  <a:pt x="148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8" name="Freeform 63"/>
          <p:cNvSpPr>
            <a:spLocks noEditPoints="1"/>
          </p:cNvSpPr>
          <p:nvPr/>
        </p:nvSpPr>
        <p:spPr bwMode="auto">
          <a:xfrm>
            <a:off x="5445621" y="2787523"/>
            <a:ext cx="332148" cy="271912"/>
          </a:xfrm>
          <a:custGeom>
            <a:avLst/>
            <a:gdLst>
              <a:gd name="T0" fmla="*/ 3526 w 3526"/>
              <a:gd name="T1" fmla="*/ 2803 h 2803"/>
              <a:gd name="T2" fmla="*/ 0 w 3526"/>
              <a:gd name="T3" fmla="*/ 1227 h 2803"/>
              <a:gd name="T4" fmla="*/ 69 w 3526"/>
              <a:gd name="T5" fmla="*/ 1291 h 2803"/>
              <a:gd name="T6" fmla="*/ 150 w 3526"/>
              <a:gd name="T7" fmla="*/ 1340 h 2803"/>
              <a:gd name="T8" fmla="*/ 241 w 3526"/>
              <a:gd name="T9" fmla="*/ 1372 h 2803"/>
              <a:gd name="T10" fmla="*/ 341 w 3526"/>
              <a:gd name="T11" fmla="*/ 1382 h 2803"/>
              <a:gd name="T12" fmla="*/ 513 w 3526"/>
              <a:gd name="T13" fmla="*/ 1663 h 2803"/>
              <a:gd name="T14" fmla="*/ 921 w 3526"/>
              <a:gd name="T15" fmla="*/ 1382 h 2803"/>
              <a:gd name="T16" fmla="*/ 2494 w 3526"/>
              <a:gd name="T17" fmla="*/ 1663 h 2803"/>
              <a:gd name="T18" fmla="*/ 2900 w 3526"/>
              <a:gd name="T19" fmla="*/ 1382 h 2803"/>
              <a:gd name="T20" fmla="*/ 3223 w 3526"/>
              <a:gd name="T21" fmla="*/ 1379 h 2803"/>
              <a:gd name="T22" fmla="*/ 3323 w 3526"/>
              <a:gd name="T23" fmla="*/ 1355 h 2803"/>
              <a:gd name="T24" fmla="*/ 3414 w 3526"/>
              <a:gd name="T25" fmla="*/ 1309 h 2803"/>
              <a:gd name="T26" fmla="*/ 3492 w 3526"/>
              <a:gd name="T27" fmla="*/ 1245 h 2803"/>
              <a:gd name="T28" fmla="*/ 1317 w 3526"/>
              <a:gd name="T29" fmla="*/ 133 h 2803"/>
              <a:gd name="T30" fmla="*/ 2217 w 3526"/>
              <a:gd name="T31" fmla="*/ 350 h 2803"/>
              <a:gd name="T32" fmla="*/ 1317 w 3526"/>
              <a:gd name="T33" fmla="*/ 133 h 2803"/>
              <a:gd name="T34" fmla="*/ 2284 w 3526"/>
              <a:gd name="T35" fmla="*/ 0 h 2803"/>
              <a:gd name="T36" fmla="*/ 2317 w 3526"/>
              <a:gd name="T37" fmla="*/ 9 h 2803"/>
              <a:gd name="T38" fmla="*/ 2341 w 3526"/>
              <a:gd name="T39" fmla="*/ 32 h 2803"/>
              <a:gd name="T40" fmla="*/ 2350 w 3526"/>
              <a:gd name="T41" fmla="*/ 67 h 2803"/>
              <a:gd name="T42" fmla="*/ 3526 w 3526"/>
              <a:gd name="T43" fmla="*/ 350 h 2803"/>
              <a:gd name="T44" fmla="*/ 3514 w 3526"/>
              <a:gd name="T45" fmla="*/ 1041 h 2803"/>
              <a:gd name="T46" fmla="*/ 3476 w 3526"/>
              <a:gd name="T47" fmla="*/ 1123 h 2803"/>
              <a:gd name="T48" fmla="*/ 3420 w 3526"/>
              <a:gd name="T49" fmla="*/ 1193 h 2803"/>
              <a:gd name="T50" fmla="*/ 3347 w 3526"/>
              <a:gd name="T51" fmla="*/ 1246 h 2803"/>
              <a:gd name="T52" fmla="*/ 3263 w 3526"/>
              <a:gd name="T53" fmla="*/ 1281 h 2803"/>
              <a:gd name="T54" fmla="*/ 3169 w 3526"/>
              <a:gd name="T55" fmla="*/ 1293 h 2803"/>
              <a:gd name="T56" fmla="*/ 2900 w 3526"/>
              <a:gd name="T57" fmla="*/ 1184 h 2803"/>
              <a:gd name="T58" fmla="*/ 2494 w 3526"/>
              <a:gd name="T59" fmla="*/ 1293 h 2803"/>
              <a:gd name="T60" fmla="*/ 921 w 3526"/>
              <a:gd name="T61" fmla="*/ 1184 h 2803"/>
              <a:gd name="T62" fmla="*/ 513 w 3526"/>
              <a:gd name="T63" fmla="*/ 1293 h 2803"/>
              <a:gd name="T64" fmla="*/ 294 w 3526"/>
              <a:gd name="T65" fmla="*/ 1291 h 2803"/>
              <a:gd name="T66" fmla="*/ 208 w 3526"/>
              <a:gd name="T67" fmla="*/ 1268 h 2803"/>
              <a:gd name="T68" fmla="*/ 131 w 3526"/>
              <a:gd name="T69" fmla="*/ 1226 h 2803"/>
              <a:gd name="T70" fmla="*/ 66 w 3526"/>
              <a:gd name="T71" fmla="*/ 1167 h 2803"/>
              <a:gd name="T72" fmla="*/ 17 w 3526"/>
              <a:gd name="T73" fmla="*/ 1094 h 2803"/>
              <a:gd name="T74" fmla="*/ 0 w 3526"/>
              <a:gd name="T75" fmla="*/ 350 h 2803"/>
              <a:gd name="T76" fmla="*/ 1182 w 3526"/>
              <a:gd name="T77" fmla="*/ 67 h 2803"/>
              <a:gd name="T78" fmla="*/ 1192 w 3526"/>
              <a:gd name="T79" fmla="*/ 32 h 2803"/>
              <a:gd name="T80" fmla="*/ 1216 w 3526"/>
              <a:gd name="T81" fmla="*/ 9 h 2803"/>
              <a:gd name="T82" fmla="*/ 1250 w 3526"/>
              <a:gd name="T83" fmla="*/ 0 h 2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526" h="2803">
                <a:moveTo>
                  <a:pt x="3526" y="1207"/>
                </a:moveTo>
                <a:lnTo>
                  <a:pt x="3526" y="2803"/>
                </a:lnTo>
                <a:lnTo>
                  <a:pt x="0" y="2803"/>
                </a:lnTo>
                <a:lnTo>
                  <a:pt x="0" y="1227"/>
                </a:lnTo>
                <a:lnTo>
                  <a:pt x="32" y="1260"/>
                </a:lnTo>
                <a:lnTo>
                  <a:pt x="69" y="1291"/>
                </a:lnTo>
                <a:lnTo>
                  <a:pt x="108" y="1318"/>
                </a:lnTo>
                <a:lnTo>
                  <a:pt x="150" y="1340"/>
                </a:lnTo>
                <a:lnTo>
                  <a:pt x="195" y="1359"/>
                </a:lnTo>
                <a:lnTo>
                  <a:pt x="241" y="1372"/>
                </a:lnTo>
                <a:lnTo>
                  <a:pt x="290" y="1379"/>
                </a:lnTo>
                <a:lnTo>
                  <a:pt x="341" y="1382"/>
                </a:lnTo>
                <a:lnTo>
                  <a:pt x="513" y="1382"/>
                </a:lnTo>
                <a:lnTo>
                  <a:pt x="513" y="1663"/>
                </a:lnTo>
                <a:lnTo>
                  <a:pt x="921" y="1663"/>
                </a:lnTo>
                <a:lnTo>
                  <a:pt x="921" y="1382"/>
                </a:lnTo>
                <a:lnTo>
                  <a:pt x="2494" y="1382"/>
                </a:lnTo>
                <a:lnTo>
                  <a:pt x="2494" y="1663"/>
                </a:lnTo>
                <a:lnTo>
                  <a:pt x="2900" y="1663"/>
                </a:lnTo>
                <a:lnTo>
                  <a:pt x="2900" y="1382"/>
                </a:lnTo>
                <a:lnTo>
                  <a:pt x="3169" y="1382"/>
                </a:lnTo>
                <a:lnTo>
                  <a:pt x="3223" y="1379"/>
                </a:lnTo>
                <a:lnTo>
                  <a:pt x="3275" y="1371"/>
                </a:lnTo>
                <a:lnTo>
                  <a:pt x="3323" y="1355"/>
                </a:lnTo>
                <a:lnTo>
                  <a:pt x="3371" y="1335"/>
                </a:lnTo>
                <a:lnTo>
                  <a:pt x="3414" y="1309"/>
                </a:lnTo>
                <a:lnTo>
                  <a:pt x="3455" y="1280"/>
                </a:lnTo>
                <a:lnTo>
                  <a:pt x="3492" y="1245"/>
                </a:lnTo>
                <a:lnTo>
                  <a:pt x="3526" y="1207"/>
                </a:lnTo>
                <a:close/>
                <a:moveTo>
                  <a:pt x="1317" y="133"/>
                </a:moveTo>
                <a:lnTo>
                  <a:pt x="1317" y="350"/>
                </a:lnTo>
                <a:lnTo>
                  <a:pt x="2217" y="350"/>
                </a:lnTo>
                <a:lnTo>
                  <a:pt x="2217" y="133"/>
                </a:lnTo>
                <a:lnTo>
                  <a:pt x="1317" y="133"/>
                </a:lnTo>
                <a:close/>
                <a:moveTo>
                  <a:pt x="1250" y="0"/>
                </a:moveTo>
                <a:lnTo>
                  <a:pt x="2284" y="0"/>
                </a:lnTo>
                <a:lnTo>
                  <a:pt x="2301" y="2"/>
                </a:lnTo>
                <a:lnTo>
                  <a:pt x="2317" y="9"/>
                </a:lnTo>
                <a:lnTo>
                  <a:pt x="2330" y="19"/>
                </a:lnTo>
                <a:lnTo>
                  <a:pt x="2341" y="32"/>
                </a:lnTo>
                <a:lnTo>
                  <a:pt x="2348" y="49"/>
                </a:lnTo>
                <a:lnTo>
                  <a:pt x="2350" y="67"/>
                </a:lnTo>
                <a:lnTo>
                  <a:pt x="2350" y="350"/>
                </a:lnTo>
                <a:lnTo>
                  <a:pt x="3526" y="350"/>
                </a:lnTo>
                <a:lnTo>
                  <a:pt x="3526" y="995"/>
                </a:lnTo>
                <a:lnTo>
                  <a:pt x="3514" y="1041"/>
                </a:lnTo>
                <a:lnTo>
                  <a:pt x="3498" y="1083"/>
                </a:lnTo>
                <a:lnTo>
                  <a:pt x="3476" y="1123"/>
                </a:lnTo>
                <a:lnTo>
                  <a:pt x="3450" y="1160"/>
                </a:lnTo>
                <a:lnTo>
                  <a:pt x="3420" y="1193"/>
                </a:lnTo>
                <a:lnTo>
                  <a:pt x="3385" y="1221"/>
                </a:lnTo>
                <a:lnTo>
                  <a:pt x="3347" y="1246"/>
                </a:lnTo>
                <a:lnTo>
                  <a:pt x="3306" y="1267"/>
                </a:lnTo>
                <a:lnTo>
                  <a:pt x="3263" y="1281"/>
                </a:lnTo>
                <a:lnTo>
                  <a:pt x="3216" y="1291"/>
                </a:lnTo>
                <a:lnTo>
                  <a:pt x="3169" y="1293"/>
                </a:lnTo>
                <a:lnTo>
                  <a:pt x="2900" y="1293"/>
                </a:lnTo>
                <a:lnTo>
                  <a:pt x="2900" y="1184"/>
                </a:lnTo>
                <a:lnTo>
                  <a:pt x="2494" y="1184"/>
                </a:lnTo>
                <a:lnTo>
                  <a:pt x="2494" y="1293"/>
                </a:lnTo>
                <a:lnTo>
                  <a:pt x="921" y="1293"/>
                </a:lnTo>
                <a:lnTo>
                  <a:pt x="921" y="1184"/>
                </a:lnTo>
                <a:lnTo>
                  <a:pt x="513" y="1184"/>
                </a:lnTo>
                <a:lnTo>
                  <a:pt x="513" y="1293"/>
                </a:lnTo>
                <a:lnTo>
                  <a:pt x="341" y="1293"/>
                </a:lnTo>
                <a:lnTo>
                  <a:pt x="294" y="1291"/>
                </a:lnTo>
                <a:lnTo>
                  <a:pt x="250" y="1282"/>
                </a:lnTo>
                <a:lnTo>
                  <a:pt x="208" y="1268"/>
                </a:lnTo>
                <a:lnTo>
                  <a:pt x="168" y="1249"/>
                </a:lnTo>
                <a:lnTo>
                  <a:pt x="131" y="1226"/>
                </a:lnTo>
                <a:lnTo>
                  <a:pt x="96" y="1198"/>
                </a:lnTo>
                <a:lnTo>
                  <a:pt x="66" y="1167"/>
                </a:lnTo>
                <a:lnTo>
                  <a:pt x="40" y="1132"/>
                </a:lnTo>
                <a:lnTo>
                  <a:pt x="17" y="1094"/>
                </a:lnTo>
                <a:lnTo>
                  <a:pt x="0" y="1054"/>
                </a:lnTo>
                <a:lnTo>
                  <a:pt x="0" y="350"/>
                </a:lnTo>
                <a:lnTo>
                  <a:pt x="1182" y="350"/>
                </a:lnTo>
                <a:lnTo>
                  <a:pt x="1182" y="67"/>
                </a:lnTo>
                <a:lnTo>
                  <a:pt x="1185" y="49"/>
                </a:lnTo>
                <a:lnTo>
                  <a:pt x="1192" y="32"/>
                </a:lnTo>
                <a:lnTo>
                  <a:pt x="1202" y="19"/>
                </a:lnTo>
                <a:lnTo>
                  <a:pt x="1216" y="9"/>
                </a:lnTo>
                <a:lnTo>
                  <a:pt x="1232" y="2"/>
                </a:lnTo>
                <a:lnTo>
                  <a:pt x="125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9" name="Freeform 142"/>
          <p:cNvSpPr>
            <a:spLocks noEditPoints="1"/>
          </p:cNvSpPr>
          <p:nvPr/>
        </p:nvSpPr>
        <p:spPr bwMode="auto">
          <a:xfrm>
            <a:off x="5417046" y="4852254"/>
            <a:ext cx="373920" cy="395996"/>
          </a:xfrm>
          <a:custGeom>
            <a:avLst/>
            <a:gdLst>
              <a:gd name="T0" fmla="*/ 1921 w 3440"/>
              <a:gd name="T1" fmla="*/ 3131 h 3427"/>
              <a:gd name="T2" fmla="*/ 1744 w 3440"/>
              <a:gd name="T3" fmla="*/ 3235 h 3427"/>
              <a:gd name="T4" fmla="*/ 1561 w 3440"/>
              <a:gd name="T5" fmla="*/ 3225 h 3427"/>
              <a:gd name="T6" fmla="*/ 1664 w 3440"/>
              <a:gd name="T7" fmla="*/ 3278 h 3427"/>
              <a:gd name="T8" fmla="*/ 1898 w 3440"/>
              <a:gd name="T9" fmla="*/ 3306 h 3427"/>
              <a:gd name="T10" fmla="*/ 2120 w 3440"/>
              <a:gd name="T11" fmla="*/ 3161 h 3427"/>
              <a:gd name="T12" fmla="*/ 310 w 3440"/>
              <a:gd name="T13" fmla="*/ 1242 h 3427"/>
              <a:gd name="T14" fmla="*/ 268 w 3440"/>
              <a:gd name="T15" fmla="*/ 1280 h 3427"/>
              <a:gd name="T16" fmla="*/ 136 w 3440"/>
              <a:gd name="T17" fmla="*/ 1477 h 3427"/>
              <a:gd name="T18" fmla="*/ 159 w 3440"/>
              <a:gd name="T19" fmla="*/ 1706 h 3427"/>
              <a:gd name="T20" fmla="*/ 237 w 3440"/>
              <a:gd name="T21" fmla="*/ 1850 h 3427"/>
              <a:gd name="T22" fmla="*/ 213 w 3440"/>
              <a:gd name="T23" fmla="*/ 1662 h 3427"/>
              <a:gd name="T24" fmla="*/ 267 w 3440"/>
              <a:gd name="T25" fmla="*/ 1509 h 3427"/>
              <a:gd name="T26" fmla="*/ 418 w 3440"/>
              <a:gd name="T27" fmla="*/ 1425 h 3427"/>
              <a:gd name="T28" fmla="*/ 496 w 3440"/>
              <a:gd name="T29" fmla="*/ 1101 h 3427"/>
              <a:gd name="T30" fmla="*/ 768 w 3440"/>
              <a:gd name="T31" fmla="*/ 1404 h 3427"/>
              <a:gd name="T32" fmla="*/ 794 w 3440"/>
              <a:gd name="T33" fmla="*/ 1647 h 3427"/>
              <a:gd name="T34" fmla="*/ 644 w 3440"/>
              <a:gd name="T35" fmla="*/ 1825 h 3427"/>
              <a:gd name="T36" fmla="*/ 681 w 3440"/>
              <a:gd name="T37" fmla="*/ 2064 h 3427"/>
              <a:gd name="T38" fmla="*/ 955 w 3440"/>
              <a:gd name="T39" fmla="*/ 2396 h 3427"/>
              <a:gd name="T40" fmla="*/ 1289 w 3440"/>
              <a:gd name="T41" fmla="*/ 2698 h 3427"/>
              <a:gd name="T42" fmla="*/ 1559 w 3440"/>
              <a:gd name="T43" fmla="*/ 2804 h 3427"/>
              <a:gd name="T44" fmla="*/ 1735 w 3440"/>
              <a:gd name="T45" fmla="*/ 2654 h 3427"/>
              <a:gd name="T46" fmla="*/ 1952 w 3440"/>
              <a:gd name="T47" fmla="*/ 2627 h 3427"/>
              <a:gd name="T48" fmla="*/ 2281 w 3440"/>
              <a:gd name="T49" fmla="*/ 2867 h 3427"/>
              <a:gd name="T50" fmla="*/ 2319 w 3440"/>
              <a:gd name="T51" fmla="*/ 3123 h 3427"/>
              <a:gd name="T52" fmla="*/ 2149 w 3440"/>
              <a:gd name="T53" fmla="*/ 3323 h 3427"/>
              <a:gd name="T54" fmla="*/ 1853 w 3440"/>
              <a:gd name="T55" fmla="*/ 3424 h 3427"/>
              <a:gd name="T56" fmla="*/ 1291 w 3440"/>
              <a:gd name="T57" fmla="*/ 3222 h 3427"/>
              <a:gd name="T58" fmla="*/ 605 w 3440"/>
              <a:gd name="T59" fmla="*/ 2666 h 3427"/>
              <a:gd name="T60" fmla="*/ 130 w 3440"/>
              <a:gd name="T61" fmla="*/ 1991 h 3427"/>
              <a:gd name="T62" fmla="*/ 1 w 3440"/>
              <a:gd name="T63" fmla="*/ 1475 h 3427"/>
              <a:gd name="T64" fmla="*/ 144 w 3440"/>
              <a:gd name="T65" fmla="*/ 1230 h 3427"/>
              <a:gd name="T66" fmla="*/ 354 w 3440"/>
              <a:gd name="T67" fmla="*/ 1084 h 3427"/>
              <a:gd name="T68" fmla="*/ 2736 w 3440"/>
              <a:gd name="T69" fmla="*/ 754 h 3427"/>
              <a:gd name="T70" fmla="*/ 2796 w 3440"/>
              <a:gd name="T71" fmla="*/ 980 h 3427"/>
              <a:gd name="T72" fmla="*/ 3021 w 3440"/>
              <a:gd name="T73" fmla="*/ 922 h 3427"/>
              <a:gd name="T74" fmla="*/ 2963 w 3440"/>
              <a:gd name="T75" fmla="*/ 695 h 3427"/>
              <a:gd name="T76" fmla="*/ 2257 w 3440"/>
              <a:gd name="T77" fmla="*/ 731 h 3427"/>
              <a:gd name="T78" fmla="*/ 2278 w 3440"/>
              <a:gd name="T79" fmla="*/ 964 h 3427"/>
              <a:gd name="T80" fmla="*/ 2510 w 3440"/>
              <a:gd name="T81" fmla="*/ 945 h 3427"/>
              <a:gd name="T82" fmla="*/ 2490 w 3440"/>
              <a:gd name="T83" fmla="*/ 712 h 3427"/>
              <a:gd name="T84" fmla="*/ 1782 w 3440"/>
              <a:gd name="T85" fmla="*/ 712 h 3427"/>
              <a:gd name="T86" fmla="*/ 1762 w 3440"/>
              <a:gd name="T87" fmla="*/ 945 h 3427"/>
              <a:gd name="T88" fmla="*/ 1995 w 3440"/>
              <a:gd name="T89" fmla="*/ 964 h 3427"/>
              <a:gd name="T90" fmla="*/ 2015 w 3440"/>
              <a:gd name="T91" fmla="*/ 731 h 3427"/>
              <a:gd name="T92" fmla="*/ 2626 w 3440"/>
              <a:gd name="T93" fmla="*/ 22 h 3427"/>
              <a:gd name="T94" fmla="*/ 3208 w 3440"/>
              <a:gd name="T95" fmla="*/ 314 h 3427"/>
              <a:gd name="T96" fmla="*/ 3440 w 3440"/>
              <a:gd name="T97" fmla="*/ 838 h 3427"/>
              <a:gd name="T98" fmla="*/ 3208 w 3440"/>
              <a:gd name="T99" fmla="*/ 1361 h 3427"/>
              <a:gd name="T100" fmla="*/ 2626 w 3440"/>
              <a:gd name="T101" fmla="*/ 1653 h 3427"/>
              <a:gd name="T102" fmla="*/ 2065 w 3440"/>
              <a:gd name="T103" fmla="*/ 1778 h 3427"/>
              <a:gd name="T104" fmla="*/ 1577 w 3440"/>
              <a:gd name="T105" fmla="*/ 1882 h 3427"/>
              <a:gd name="T106" fmla="*/ 1642 w 3440"/>
              <a:gd name="T107" fmla="*/ 1433 h 3427"/>
              <a:gd name="T108" fmla="*/ 1338 w 3440"/>
              <a:gd name="T109" fmla="*/ 962 h 3427"/>
              <a:gd name="T110" fmla="*/ 1472 w 3440"/>
              <a:gd name="T111" fmla="*/ 415 h 3427"/>
              <a:gd name="T112" fmla="*/ 1990 w 3440"/>
              <a:gd name="T113" fmla="*/ 60 h 3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40" h="3427">
                <a:moveTo>
                  <a:pt x="1973" y="3010"/>
                </a:moveTo>
                <a:lnTo>
                  <a:pt x="1972" y="3013"/>
                </a:lnTo>
                <a:lnTo>
                  <a:pt x="1969" y="3021"/>
                </a:lnTo>
                <a:lnTo>
                  <a:pt x="1965" y="3034"/>
                </a:lnTo>
                <a:lnTo>
                  <a:pt x="1959" y="3051"/>
                </a:lnTo>
                <a:lnTo>
                  <a:pt x="1952" y="3068"/>
                </a:lnTo>
                <a:lnTo>
                  <a:pt x="1944" y="3088"/>
                </a:lnTo>
                <a:lnTo>
                  <a:pt x="1934" y="3110"/>
                </a:lnTo>
                <a:lnTo>
                  <a:pt x="1921" y="3131"/>
                </a:lnTo>
                <a:lnTo>
                  <a:pt x="1906" y="3153"/>
                </a:lnTo>
                <a:lnTo>
                  <a:pt x="1887" y="3173"/>
                </a:lnTo>
                <a:lnTo>
                  <a:pt x="1864" y="3192"/>
                </a:lnTo>
                <a:lnTo>
                  <a:pt x="1838" y="3206"/>
                </a:lnTo>
                <a:lnTo>
                  <a:pt x="1816" y="3217"/>
                </a:lnTo>
                <a:lnTo>
                  <a:pt x="1792" y="3224"/>
                </a:lnTo>
                <a:lnTo>
                  <a:pt x="1776" y="3228"/>
                </a:lnTo>
                <a:lnTo>
                  <a:pt x="1760" y="3231"/>
                </a:lnTo>
                <a:lnTo>
                  <a:pt x="1744" y="3235"/>
                </a:lnTo>
                <a:lnTo>
                  <a:pt x="1719" y="3237"/>
                </a:lnTo>
                <a:lnTo>
                  <a:pt x="1695" y="3238"/>
                </a:lnTo>
                <a:lnTo>
                  <a:pt x="1673" y="3238"/>
                </a:lnTo>
                <a:lnTo>
                  <a:pt x="1651" y="3237"/>
                </a:lnTo>
                <a:lnTo>
                  <a:pt x="1625" y="3235"/>
                </a:lnTo>
                <a:lnTo>
                  <a:pt x="1602" y="3231"/>
                </a:lnTo>
                <a:lnTo>
                  <a:pt x="1583" y="3228"/>
                </a:lnTo>
                <a:lnTo>
                  <a:pt x="1570" y="3226"/>
                </a:lnTo>
                <a:lnTo>
                  <a:pt x="1561" y="3225"/>
                </a:lnTo>
                <a:lnTo>
                  <a:pt x="1557" y="3224"/>
                </a:lnTo>
                <a:lnTo>
                  <a:pt x="1559" y="3225"/>
                </a:lnTo>
                <a:lnTo>
                  <a:pt x="1564" y="3228"/>
                </a:lnTo>
                <a:lnTo>
                  <a:pt x="1571" y="3231"/>
                </a:lnTo>
                <a:lnTo>
                  <a:pt x="1580" y="3237"/>
                </a:lnTo>
                <a:lnTo>
                  <a:pt x="1597" y="3246"/>
                </a:lnTo>
                <a:lnTo>
                  <a:pt x="1618" y="3258"/>
                </a:lnTo>
                <a:lnTo>
                  <a:pt x="1643" y="3269"/>
                </a:lnTo>
                <a:lnTo>
                  <a:pt x="1664" y="3278"/>
                </a:lnTo>
                <a:lnTo>
                  <a:pt x="1688" y="3287"/>
                </a:lnTo>
                <a:lnTo>
                  <a:pt x="1713" y="3294"/>
                </a:lnTo>
                <a:lnTo>
                  <a:pt x="1740" y="3301"/>
                </a:lnTo>
                <a:lnTo>
                  <a:pt x="1759" y="3306"/>
                </a:lnTo>
                <a:lnTo>
                  <a:pt x="1778" y="3309"/>
                </a:lnTo>
                <a:lnTo>
                  <a:pt x="1799" y="3311"/>
                </a:lnTo>
                <a:lnTo>
                  <a:pt x="1832" y="3313"/>
                </a:lnTo>
                <a:lnTo>
                  <a:pt x="1865" y="3310"/>
                </a:lnTo>
                <a:lnTo>
                  <a:pt x="1898" y="3306"/>
                </a:lnTo>
                <a:lnTo>
                  <a:pt x="1932" y="3296"/>
                </a:lnTo>
                <a:lnTo>
                  <a:pt x="1963" y="3285"/>
                </a:lnTo>
                <a:lnTo>
                  <a:pt x="1994" y="3269"/>
                </a:lnTo>
                <a:lnTo>
                  <a:pt x="2021" y="3252"/>
                </a:lnTo>
                <a:lnTo>
                  <a:pt x="2046" y="3234"/>
                </a:lnTo>
                <a:lnTo>
                  <a:pt x="2069" y="3215"/>
                </a:lnTo>
                <a:lnTo>
                  <a:pt x="2089" y="3196"/>
                </a:lnTo>
                <a:lnTo>
                  <a:pt x="2106" y="3178"/>
                </a:lnTo>
                <a:lnTo>
                  <a:pt x="2120" y="3161"/>
                </a:lnTo>
                <a:lnTo>
                  <a:pt x="2133" y="3148"/>
                </a:lnTo>
                <a:lnTo>
                  <a:pt x="2142" y="3135"/>
                </a:lnTo>
                <a:lnTo>
                  <a:pt x="2149" y="3127"/>
                </a:lnTo>
                <a:lnTo>
                  <a:pt x="2155" y="3120"/>
                </a:lnTo>
                <a:lnTo>
                  <a:pt x="2158" y="3117"/>
                </a:lnTo>
                <a:lnTo>
                  <a:pt x="2159" y="3114"/>
                </a:lnTo>
                <a:lnTo>
                  <a:pt x="1973" y="3010"/>
                </a:lnTo>
                <a:close/>
                <a:moveTo>
                  <a:pt x="311" y="1242"/>
                </a:moveTo>
                <a:lnTo>
                  <a:pt x="310" y="1242"/>
                </a:lnTo>
                <a:lnTo>
                  <a:pt x="309" y="1244"/>
                </a:lnTo>
                <a:lnTo>
                  <a:pt x="306" y="1246"/>
                </a:lnTo>
                <a:lnTo>
                  <a:pt x="304" y="1248"/>
                </a:lnTo>
                <a:lnTo>
                  <a:pt x="302" y="1250"/>
                </a:lnTo>
                <a:lnTo>
                  <a:pt x="300" y="1252"/>
                </a:lnTo>
                <a:lnTo>
                  <a:pt x="297" y="1255"/>
                </a:lnTo>
                <a:lnTo>
                  <a:pt x="293" y="1258"/>
                </a:lnTo>
                <a:lnTo>
                  <a:pt x="281" y="1267"/>
                </a:lnTo>
                <a:lnTo>
                  <a:pt x="268" y="1280"/>
                </a:lnTo>
                <a:lnTo>
                  <a:pt x="252" y="1295"/>
                </a:lnTo>
                <a:lnTo>
                  <a:pt x="235" y="1311"/>
                </a:lnTo>
                <a:lnTo>
                  <a:pt x="215" y="1332"/>
                </a:lnTo>
                <a:lnTo>
                  <a:pt x="196" y="1355"/>
                </a:lnTo>
                <a:lnTo>
                  <a:pt x="177" y="1381"/>
                </a:lnTo>
                <a:lnTo>
                  <a:pt x="161" y="1412"/>
                </a:lnTo>
                <a:lnTo>
                  <a:pt x="151" y="1432"/>
                </a:lnTo>
                <a:lnTo>
                  <a:pt x="143" y="1454"/>
                </a:lnTo>
                <a:lnTo>
                  <a:pt x="136" y="1477"/>
                </a:lnTo>
                <a:lnTo>
                  <a:pt x="131" y="1500"/>
                </a:lnTo>
                <a:lnTo>
                  <a:pt x="128" y="1523"/>
                </a:lnTo>
                <a:lnTo>
                  <a:pt x="127" y="1546"/>
                </a:lnTo>
                <a:lnTo>
                  <a:pt x="127" y="1569"/>
                </a:lnTo>
                <a:lnTo>
                  <a:pt x="129" y="1591"/>
                </a:lnTo>
                <a:lnTo>
                  <a:pt x="132" y="1612"/>
                </a:lnTo>
                <a:lnTo>
                  <a:pt x="139" y="1642"/>
                </a:lnTo>
                <a:lnTo>
                  <a:pt x="146" y="1672"/>
                </a:lnTo>
                <a:lnTo>
                  <a:pt x="159" y="1706"/>
                </a:lnTo>
                <a:lnTo>
                  <a:pt x="173" y="1739"/>
                </a:lnTo>
                <a:lnTo>
                  <a:pt x="187" y="1767"/>
                </a:lnTo>
                <a:lnTo>
                  <a:pt x="200" y="1791"/>
                </a:lnTo>
                <a:lnTo>
                  <a:pt x="213" y="1812"/>
                </a:lnTo>
                <a:lnTo>
                  <a:pt x="222" y="1827"/>
                </a:lnTo>
                <a:lnTo>
                  <a:pt x="228" y="1837"/>
                </a:lnTo>
                <a:lnTo>
                  <a:pt x="232" y="1844"/>
                </a:lnTo>
                <a:lnTo>
                  <a:pt x="236" y="1848"/>
                </a:lnTo>
                <a:lnTo>
                  <a:pt x="237" y="1850"/>
                </a:lnTo>
                <a:lnTo>
                  <a:pt x="236" y="1847"/>
                </a:lnTo>
                <a:lnTo>
                  <a:pt x="234" y="1838"/>
                </a:lnTo>
                <a:lnTo>
                  <a:pt x="230" y="1824"/>
                </a:lnTo>
                <a:lnTo>
                  <a:pt x="227" y="1805"/>
                </a:lnTo>
                <a:lnTo>
                  <a:pt x="222" y="1782"/>
                </a:lnTo>
                <a:lnTo>
                  <a:pt x="219" y="1756"/>
                </a:lnTo>
                <a:lnTo>
                  <a:pt x="215" y="1727"/>
                </a:lnTo>
                <a:lnTo>
                  <a:pt x="214" y="1695"/>
                </a:lnTo>
                <a:lnTo>
                  <a:pt x="213" y="1662"/>
                </a:lnTo>
                <a:lnTo>
                  <a:pt x="216" y="1636"/>
                </a:lnTo>
                <a:lnTo>
                  <a:pt x="219" y="1611"/>
                </a:lnTo>
                <a:lnTo>
                  <a:pt x="223" y="1595"/>
                </a:lnTo>
                <a:lnTo>
                  <a:pt x="227" y="1580"/>
                </a:lnTo>
                <a:lnTo>
                  <a:pt x="232" y="1564"/>
                </a:lnTo>
                <a:lnTo>
                  <a:pt x="239" y="1551"/>
                </a:lnTo>
                <a:lnTo>
                  <a:pt x="246" y="1537"/>
                </a:lnTo>
                <a:lnTo>
                  <a:pt x="253" y="1524"/>
                </a:lnTo>
                <a:lnTo>
                  <a:pt x="267" y="1509"/>
                </a:lnTo>
                <a:lnTo>
                  <a:pt x="280" y="1494"/>
                </a:lnTo>
                <a:lnTo>
                  <a:pt x="295" y="1483"/>
                </a:lnTo>
                <a:lnTo>
                  <a:pt x="311" y="1472"/>
                </a:lnTo>
                <a:lnTo>
                  <a:pt x="326" y="1463"/>
                </a:lnTo>
                <a:lnTo>
                  <a:pt x="342" y="1455"/>
                </a:lnTo>
                <a:lnTo>
                  <a:pt x="372" y="1443"/>
                </a:lnTo>
                <a:lnTo>
                  <a:pt x="398" y="1433"/>
                </a:lnTo>
                <a:lnTo>
                  <a:pt x="410" y="1428"/>
                </a:lnTo>
                <a:lnTo>
                  <a:pt x="418" y="1425"/>
                </a:lnTo>
                <a:lnTo>
                  <a:pt x="421" y="1424"/>
                </a:lnTo>
                <a:lnTo>
                  <a:pt x="423" y="1423"/>
                </a:lnTo>
                <a:lnTo>
                  <a:pt x="425" y="1422"/>
                </a:lnTo>
                <a:lnTo>
                  <a:pt x="425" y="1422"/>
                </a:lnTo>
                <a:lnTo>
                  <a:pt x="311" y="1242"/>
                </a:lnTo>
                <a:close/>
                <a:moveTo>
                  <a:pt x="409" y="1078"/>
                </a:moveTo>
                <a:lnTo>
                  <a:pt x="437" y="1081"/>
                </a:lnTo>
                <a:lnTo>
                  <a:pt x="466" y="1089"/>
                </a:lnTo>
                <a:lnTo>
                  <a:pt x="496" y="1101"/>
                </a:lnTo>
                <a:lnTo>
                  <a:pt x="526" y="1118"/>
                </a:lnTo>
                <a:lnTo>
                  <a:pt x="559" y="1141"/>
                </a:lnTo>
                <a:lnTo>
                  <a:pt x="591" y="1168"/>
                </a:lnTo>
                <a:lnTo>
                  <a:pt x="624" y="1203"/>
                </a:lnTo>
                <a:lnTo>
                  <a:pt x="659" y="1243"/>
                </a:lnTo>
                <a:lnTo>
                  <a:pt x="693" y="1287"/>
                </a:lnTo>
                <a:lnTo>
                  <a:pt x="723" y="1329"/>
                </a:lnTo>
                <a:lnTo>
                  <a:pt x="747" y="1368"/>
                </a:lnTo>
                <a:lnTo>
                  <a:pt x="768" y="1404"/>
                </a:lnTo>
                <a:lnTo>
                  <a:pt x="785" y="1438"/>
                </a:lnTo>
                <a:lnTo>
                  <a:pt x="797" y="1470"/>
                </a:lnTo>
                <a:lnTo>
                  <a:pt x="807" y="1499"/>
                </a:lnTo>
                <a:lnTo>
                  <a:pt x="812" y="1528"/>
                </a:lnTo>
                <a:lnTo>
                  <a:pt x="814" y="1555"/>
                </a:lnTo>
                <a:lnTo>
                  <a:pt x="813" y="1579"/>
                </a:lnTo>
                <a:lnTo>
                  <a:pt x="810" y="1603"/>
                </a:lnTo>
                <a:lnTo>
                  <a:pt x="804" y="1626"/>
                </a:lnTo>
                <a:lnTo>
                  <a:pt x="794" y="1647"/>
                </a:lnTo>
                <a:lnTo>
                  <a:pt x="784" y="1668"/>
                </a:lnTo>
                <a:lnTo>
                  <a:pt x="771" y="1687"/>
                </a:lnTo>
                <a:lnTo>
                  <a:pt x="757" y="1707"/>
                </a:lnTo>
                <a:lnTo>
                  <a:pt x="740" y="1727"/>
                </a:lnTo>
                <a:lnTo>
                  <a:pt x="722" y="1746"/>
                </a:lnTo>
                <a:lnTo>
                  <a:pt x="705" y="1765"/>
                </a:lnTo>
                <a:lnTo>
                  <a:pt x="685" y="1785"/>
                </a:lnTo>
                <a:lnTo>
                  <a:pt x="665" y="1804"/>
                </a:lnTo>
                <a:lnTo>
                  <a:pt x="644" y="1825"/>
                </a:lnTo>
                <a:lnTo>
                  <a:pt x="630" y="1843"/>
                </a:lnTo>
                <a:lnTo>
                  <a:pt x="621" y="1864"/>
                </a:lnTo>
                <a:lnTo>
                  <a:pt x="617" y="1887"/>
                </a:lnTo>
                <a:lnTo>
                  <a:pt x="618" y="1912"/>
                </a:lnTo>
                <a:lnTo>
                  <a:pt x="622" y="1939"/>
                </a:lnTo>
                <a:lnTo>
                  <a:pt x="632" y="1968"/>
                </a:lnTo>
                <a:lnTo>
                  <a:pt x="644" y="1999"/>
                </a:lnTo>
                <a:lnTo>
                  <a:pt x="661" y="2031"/>
                </a:lnTo>
                <a:lnTo>
                  <a:pt x="681" y="2064"/>
                </a:lnTo>
                <a:lnTo>
                  <a:pt x="703" y="2099"/>
                </a:lnTo>
                <a:lnTo>
                  <a:pt x="728" y="2134"/>
                </a:lnTo>
                <a:lnTo>
                  <a:pt x="756" y="2171"/>
                </a:lnTo>
                <a:lnTo>
                  <a:pt x="785" y="2208"/>
                </a:lnTo>
                <a:lnTo>
                  <a:pt x="816" y="2245"/>
                </a:lnTo>
                <a:lnTo>
                  <a:pt x="850" y="2283"/>
                </a:lnTo>
                <a:lnTo>
                  <a:pt x="884" y="2320"/>
                </a:lnTo>
                <a:lnTo>
                  <a:pt x="919" y="2358"/>
                </a:lnTo>
                <a:lnTo>
                  <a:pt x="955" y="2396"/>
                </a:lnTo>
                <a:lnTo>
                  <a:pt x="991" y="2433"/>
                </a:lnTo>
                <a:lnTo>
                  <a:pt x="1029" y="2470"/>
                </a:lnTo>
                <a:lnTo>
                  <a:pt x="1065" y="2505"/>
                </a:lnTo>
                <a:lnTo>
                  <a:pt x="1103" y="2541"/>
                </a:lnTo>
                <a:lnTo>
                  <a:pt x="1141" y="2575"/>
                </a:lnTo>
                <a:lnTo>
                  <a:pt x="1179" y="2609"/>
                </a:lnTo>
                <a:lnTo>
                  <a:pt x="1215" y="2640"/>
                </a:lnTo>
                <a:lnTo>
                  <a:pt x="1253" y="2669"/>
                </a:lnTo>
                <a:lnTo>
                  <a:pt x="1289" y="2698"/>
                </a:lnTo>
                <a:lnTo>
                  <a:pt x="1325" y="2723"/>
                </a:lnTo>
                <a:lnTo>
                  <a:pt x="1359" y="2745"/>
                </a:lnTo>
                <a:lnTo>
                  <a:pt x="1393" y="2764"/>
                </a:lnTo>
                <a:lnTo>
                  <a:pt x="1425" y="2780"/>
                </a:lnTo>
                <a:lnTo>
                  <a:pt x="1455" y="2794"/>
                </a:lnTo>
                <a:lnTo>
                  <a:pt x="1484" y="2802"/>
                </a:lnTo>
                <a:lnTo>
                  <a:pt x="1512" y="2807"/>
                </a:lnTo>
                <a:lnTo>
                  <a:pt x="1537" y="2808"/>
                </a:lnTo>
                <a:lnTo>
                  <a:pt x="1559" y="2804"/>
                </a:lnTo>
                <a:lnTo>
                  <a:pt x="1580" y="2795"/>
                </a:lnTo>
                <a:lnTo>
                  <a:pt x="1598" y="2781"/>
                </a:lnTo>
                <a:lnTo>
                  <a:pt x="1618" y="2760"/>
                </a:lnTo>
                <a:lnTo>
                  <a:pt x="1639" y="2740"/>
                </a:lnTo>
                <a:lnTo>
                  <a:pt x="1657" y="2721"/>
                </a:lnTo>
                <a:lnTo>
                  <a:pt x="1677" y="2702"/>
                </a:lnTo>
                <a:lnTo>
                  <a:pt x="1696" y="2685"/>
                </a:lnTo>
                <a:lnTo>
                  <a:pt x="1716" y="2668"/>
                </a:lnTo>
                <a:lnTo>
                  <a:pt x="1735" y="2654"/>
                </a:lnTo>
                <a:lnTo>
                  <a:pt x="1755" y="2641"/>
                </a:lnTo>
                <a:lnTo>
                  <a:pt x="1775" y="2630"/>
                </a:lnTo>
                <a:lnTo>
                  <a:pt x="1797" y="2621"/>
                </a:lnTo>
                <a:lnTo>
                  <a:pt x="1820" y="2615"/>
                </a:lnTo>
                <a:lnTo>
                  <a:pt x="1843" y="2611"/>
                </a:lnTo>
                <a:lnTo>
                  <a:pt x="1868" y="2611"/>
                </a:lnTo>
                <a:lnTo>
                  <a:pt x="1894" y="2613"/>
                </a:lnTo>
                <a:lnTo>
                  <a:pt x="1922" y="2618"/>
                </a:lnTo>
                <a:lnTo>
                  <a:pt x="1952" y="2627"/>
                </a:lnTo>
                <a:lnTo>
                  <a:pt x="1984" y="2640"/>
                </a:lnTo>
                <a:lnTo>
                  <a:pt x="2018" y="2656"/>
                </a:lnTo>
                <a:lnTo>
                  <a:pt x="2055" y="2677"/>
                </a:lnTo>
                <a:lnTo>
                  <a:pt x="2093" y="2702"/>
                </a:lnTo>
                <a:lnTo>
                  <a:pt x="2134" y="2731"/>
                </a:lnTo>
                <a:lnTo>
                  <a:pt x="2179" y="2765"/>
                </a:lnTo>
                <a:lnTo>
                  <a:pt x="2219" y="2800"/>
                </a:lnTo>
                <a:lnTo>
                  <a:pt x="2253" y="2834"/>
                </a:lnTo>
                <a:lnTo>
                  <a:pt x="2281" y="2867"/>
                </a:lnTo>
                <a:lnTo>
                  <a:pt x="2304" y="2899"/>
                </a:lnTo>
                <a:lnTo>
                  <a:pt x="2320" y="2930"/>
                </a:lnTo>
                <a:lnTo>
                  <a:pt x="2332" y="2960"/>
                </a:lnTo>
                <a:lnTo>
                  <a:pt x="2339" y="2989"/>
                </a:lnTo>
                <a:lnTo>
                  <a:pt x="2342" y="3017"/>
                </a:lnTo>
                <a:lnTo>
                  <a:pt x="2341" y="3044"/>
                </a:lnTo>
                <a:lnTo>
                  <a:pt x="2337" y="3072"/>
                </a:lnTo>
                <a:lnTo>
                  <a:pt x="2330" y="3098"/>
                </a:lnTo>
                <a:lnTo>
                  <a:pt x="2319" y="3123"/>
                </a:lnTo>
                <a:lnTo>
                  <a:pt x="2306" y="3148"/>
                </a:lnTo>
                <a:lnTo>
                  <a:pt x="2290" y="3172"/>
                </a:lnTo>
                <a:lnTo>
                  <a:pt x="2274" y="3195"/>
                </a:lnTo>
                <a:lnTo>
                  <a:pt x="2254" y="3218"/>
                </a:lnTo>
                <a:lnTo>
                  <a:pt x="2234" y="3240"/>
                </a:lnTo>
                <a:lnTo>
                  <a:pt x="2213" y="3262"/>
                </a:lnTo>
                <a:lnTo>
                  <a:pt x="2192" y="3283"/>
                </a:lnTo>
                <a:lnTo>
                  <a:pt x="2170" y="3304"/>
                </a:lnTo>
                <a:lnTo>
                  <a:pt x="2149" y="3323"/>
                </a:lnTo>
                <a:lnTo>
                  <a:pt x="2129" y="3343"/>
                </a:lnTo>
                <a:lnTo>
                  <a:pt x="2109" y="3363"/>
                </a:lnTo>
                <a:lnTo>
                  <a:pt x="2086" y="3383"/>
                </a:lnTo>
                <a:lnTo>
                  <a:pt x="2057" y="3399"/>
                </a:lnTo>
                <a:lnTo>
                  <a:pt x="2024" y="3411"/>
                </a:lnTo>
                <a:lnTo>
                  <a:pt x="1988" y="3419"/>
                </a:lnTo>
                <a:lnTo>
                  <a:pt x="1947" y="3425"/>
                </a:lnTo>
                <a:lnTo>
                  <a:pt x="1902" y="3427"/>
                </a:lnTo>
                <a:lnTo>
                  <a:pt x="1853" y="3424"/>
                </a:lnTo>
                <a:lnTo>
                  <a:pt x="1802" y="3417"/>
                </a:lnTo>
                <a:lnTo>
                  <a:pt x="1747" y="3408"/>
                </a:lnTo>
                <a:lnTo>
                  <a:pt x="1690" y="3393"/>
                </a:lnTo>
                <a:lnTo>
                  <a:pt x="1629" y="3376"/>
                </a:lnTo>
                <a:lnTo>
                  <a:pt x="1566" y="3353"/>
                </a:lnTo>
                <a:lnTo>
                  <a:pt x="1500" y="3326"/>
                </a:lnTo>
                <a:lnTo>
                  <a:pt x="1432" y="3296"/>
                </a:lnTo>
                <a:lnTo>
                  <a:pt x="1362" y="3261"/>
                </a:lnTo>
                <a:lnTo>
                  <a:pt x="1291" y="3222"/>
                </a:lnTo>
                <a:lnTo>
                  <a:pt x="1218" y="3178"/>
                </a:lnTo>
                <a:lnTo>
                  <a:pt x="1144" y="3130"/>
                </a:lnTo>
                <a:lnTo>
                  <a:pt x="1068" y="3078"/>
                </a:lnTo>
                <a:lnTo>
                  <a:pt x="991" y="3020"/>
                </a:lnTo>
                <a:lnTo>
                  <a:pt x="914" y="2959"/>
                </a:lnTo>
                <a:lnTo>
                  <a:pt x="836" y="2892"/>
                </a:lnTo>
                <a:lnTo>
                  <a:pt x="759" y="2821"/>
                </a:lnTo>
                <a:lnTo>
                  <a:pt x="680" y="2745"/>
                </a:lnTo>
                <a:lnTo>
                  <a:pt x="605" y="2666"/>
                </a:lnTo>
                <a:lnTo>
                  <a:pt x="534" y="2588"/>
                </a:lnTo>
                <a:lnTo>
                  <a:pt x="467" y="2511"/>
                </a:lnTo>
                <a:lnTo>
                  <a:pt x="406" y="2433"/>
                </a:lnTo>
                <a:lnTo>
                  <a:pt x="348" y="2356"/>
                </a:lnTo>
                <a:lnTo>
                  <a:pt x="296" y="2281"/>
                </a:lnTo>
                <a:lnTo>
                  <a:pt x="248" y="2206"/>
                </a:lnTo>
                <a:lnTo>
                  <a:pt x="204" y="2132"/>
                </a:lnTo>
                <a:lnTo>
                  <a:pt x="165" y="2061"/>
                </a:lnTo>
                <a:lnTo>
                  <a:pt x="130" y="1991"/>
                </a:lnTo>
                <a:lnTo>
                  <a:pt x="100" y="1923"/>
                </a:lnTo>
                <a:lnTo>
                  <a:pt x="73" y="1858"/>
                </a:lnTo>
                <a:lnTo>
                  <a:pt x="51" y="1794"/>
                </a:lnTo>
                <a:lnTo>
                  <a:pt x="33" y="1733"/>
                </a:lnTo>
                <a:lnTo>
                  <a:pt x="19" y="1675"/>
                </a:lnTo>
                <a:lnTo>
                  <a:pt x="8" y="1620"/>
                </a:lnTo>
                <a:lnTo>
                  <a:pt x="2" y="1568"/>
                </a:lnTo>
                <a:lnTo>
                  <a:pt x="0" y="1520"/>
                </a:lnTo>
                <a:lnTo>
                  <a:pt x="1" y="1475"/>
                </a:lnTo>
                <a:lnTo>
                  <a:pt x="6" y="1435"/>
                </a:lnTo>
                <a:lnTo>
                  <a:pt x="16" y="1398"/>
                </a:lnTo>
                <a:lnTo>
                  <a:pt x="28" y="1365"/>
                </a:lnTo>
                <a:lnTo>
                  <a:pt x="44" y="1336"/>
                </a:lnTo>
                <a:lnTo>
                  <a:pt x="64" y="1312"/>
                </a:lnTo>
                <a:lnTo>
                  <a:pt x="82" y="1292"/>
                </a:lnTo>
                <a:lnTo>
                  <a:pt x="102" y="1273"/>
                </a:lnTo>
                <a:lnTo>
                  <a:pt x="123" y="1251"/>
                </a:lnTo>
                <a:lnTo>
                  <a:pt x="144" y="1230"/>
                </a:lnTo>
                <a:lnTo>
                  <a:pt x="165" y="1208"/>
                </a:lnTo>
                <a:lnTo>
                  <a:pt x="187" y="1187"/>
                </a:lnTo>
                <a:lnTo>
                  <a:pt x="208" y="1167"/>
                </a:lnTo>
                <a:lnTo>
                  <a:pt x="231" y="1148"/>
                </a:lnTo>
                <a:lnTo>
                  <a:pt x="254" y="1132"/>
                </a:lnTo>
                <a:lnTo>
                  <a:pt x="278" y="1116"/>
                </a:lnTo>
                <a:lnTo>
                  <a:pt x="303" y="1102"/>
                </a:lnTo>
                <a:lnTo>
                  <a:pt x="328" y="1092"/>
                </a:lnTo>
                <a:lnTo>
                  <a:pt x="354" y="1084"/>
                </a:lnTo>
                <a:lnTo>
                  <a:pt x="380" y="1079"/>
                </a:lnTo>
                <a:lnTo>
                  <a:pt x="409" y="1078"/>
                </a:lnTo>
                <a:close/>
                <a:moveTo>
                  <a:pt x="2879" y="672"/>
                </a:moveTo>
                <a:lnTo>
                  <a:pt x="2849" y="675"/>
                </a:lnTo>
                <a:lnTo>
                  <a:pt x="2821" y="682"/>
                </a:lnTo>
                <a:lnTo>
                  <a:pt x="2796" y="695"/>
                </a:lnTo>
                <a:lnTo>
                  <a:pt x="2773" y="712"/>
                </a:lnTo>
                <a:lnTo>
                  <a:pt x="2753" y="731"/>
                </a:lnTo>
                <a:lnTo>
                  <a:pt x="2736" y="754"/>
                </a:lnTo>
                <a:lnTo>
                  <a:pt x="2724" y="780"/>
                </a:lnTo>
                <a:lnTo>
                  <a:pt x="2717" y="808"/>
                </a:lnTo>
                <a:lnTo>
                  <a:pt x="2713" y="838"/>
                </a:lnTo>
                <a:lnTo>
                  <a:pt x="2717" y="867"/>
                </a:lnTo>
                <a:lnTo>
                  <a:pt x="2724" y="895"/>
                </a:lnTo>
                <a:lnTo>
                  <a:pt x="2736" y="922"/>
                </a:lnTo>
                <a:lnTo>
                  <a:pt x="2753" y="945"/>
                </a:lnTo>
                <a:lnTo>
                  <a:pt x="2773" y="964"/>
                </a:lnTo>
                <a:lnTo>
                  <a:pt x="2796" y="980"/>
                </a:lnTo>
                <a:lnTo>
                  <a:pt x="2821" y="993"/>
                </a:lnTo>
                <a:lnTo>
                  <a:pt x="2849" y="1000"/>
                </a:lnTo>
                <a:lnTo>
                  <a:pt x="2879" y="1003"/>
                </a:lnTo>
                <a:lnTo>
                  <a:pt x="2908" y="1000"/>
                </a:lnTo>
                <a:lnTo>
                  <a:pt x="2937" y="993"/>
                </a:lnTo>
                <a:lnTo>
                  <a:pt x="2963" y="980"/>
                </a:lnTo>
                <a:lnTo>
                  <a:pt x="2986" y="964"/>
                </a:lnTo>
                <a:lnTo>
                  <a:pt x="3005" y="945"/>
                </a:lnTo>
                <a:lnTo>
                  <a:pt x="3021" y="922"/>
                </a:lnTo>
                <a:lnTo>
                  <a:pt x="3033" y="895"/>
                </a:lnTo>
                <a:lnTo>
                  <a:pt x="3041" y="867"/>
                </a:lnTo>
                <a:lnTo>
                  <a:pt x="3044" y="838"/>
                </a:lnTo>
                <a:lnTo>
                  <a:pt x="3041" y="808"/>
                </a:lnTo>
                <a:lnTo>
                  <a:pt x="3033" y="780"/>
                </a:lnTo>
                <a:lnTo>
                  <a:pt x="3021" y="754"/>
                </a:lnTo>
                <a:lnTo>
                  <a:pt x="3005" y="731"/>
                </a:lnTo>
                <a:lnTo>
                  <a:pt x="2986" y="712"/>
                </a:lnTo>
                <a:lnTo>
                  <a:pt x="2963" y="695"/>
                </a:lnTo>
                <a:lnTo>
                  <a:pt x="2937" y="682"/>
                </a:lnTo>
                <a:lnTo>
                  <a:pt x="2908" y="675"/>
                </a:lnTo>
                <a:lnTo>
                  <a:pt x="2879" y="672"/>
                </a:lnTo>
                <a:close/>
                <a:moveTo>
                  <a:pt x="2384" y="672"/>
                </a:moveTo>
                <a:lnTo>
                  <a:pt x="2354" y="675"/>
                </a:lnTo>
                <a:lnTo>
                  <a:pt x="2326" y="682"/>
                </a:lnTo>
                <a:lnTo>
                  <a:pt x="2301" y="695"/>
                </a:lnTo>
                <a:lnTo>
                  <a:pt x="2278" y="712"/>
                </a:lnTo>
                <a:lnTo>
                  <a:pt x="2257" y="731"/>
                </a:lnTo>
                <a:lnTo>
                  <a:pt x="2241" y="754"/>
                </a:lnTo>
                <a:lnTo>
                  <a:pt x="2229" y="780"/>
                </a:lnTo>
                <a:lnTo>
                  <a:pt x="2221" y="808"/>
                </a:lnTo>
                <a:lnTo>
                  <a:pt x="2218" y="838"/>
                </a:lnTo>
                <a:lnTo>
                  <a:pt x="2221" y="867"/>
                </a:lnTo>
                <a:lnTo>
                  <a:pt x="2229" y="895"/>
                </a:lnTo>
                <a:lnTo>
                  <a:pt x="2241" y="922"/>
                </a:lnTo>
                <a:lnTo>
                  <a:pt x="2257" y="945"/>
                </a:lnTo>
                <a:lnTo>
                  <a:pt x="2278" y="964"/>
                </a:lnTo>
                <a:lnTo>
                  <a:pt x="2301" y="980"/>
                </a:lnTo>
                <a:lnTo>
                  <a:pt x="2326" y="993"/>
                </a:lnTo>
                <a:lnTo>
                  <a:pt x="2354" y="1000"/>
                </a:lnTo>
                <a:lnTo>
                  <a:pt x="2384" y="1003"/>
                </a:lnTo>
                <a:lnTo>
                  <a:pt x="2413" y="1000"/>
                </a:lnTo>
                <a:lnTo>
                  <a:pt x="2441" y="993"/>
                </a:lnTo>
                <a:lnTo>
                  <a:pt x="2466" y="980"/>
                </a:lnTo>
                <a:lnTo>
                  <a:pt x="2490" y="964"/>
                </a:lnTo>
                <a:lnTo>
                  <a:pt x="2510" y="945"/>
                </a:lnTo>
                <a:lnTo>
                  <a:pt x="2526" y="922"/>
                </a:lnTo>
                <a:lnTo>
                  <a:pt x="2538" y="895"/>
                </a:lnTo>
                <a:lnTo>
                  <a:pt x="2546" y="867"/>
                </a:lnTo>
                <a:lnTo>
                  <a:pt x="2549" y="838"/>
                </a:lnTo>
                <a:lnTo>
                  <a:pt x="2546" y="808"/>
                </a:lnTo>
                <a:lnTo>
                  <a:pt x="2538" y="780"/>
                </a:lnTo>
                <a:lnTo>
                  <a:pt x="2526" y="754"/>
                </a:lnTo>
                <a:lnTo>
                  <a:pt x="2510" y="731"/>
                </a:lnTo>
                <a:lnTo>
                  <a:pt x="2490" y="712"/>
                </a:lnTo>
                <a:lnTo>
                  <a:pt x="2466" y="695"/>
                </a:lnTo>
                <a:lnTo>
                  <a:pt x="2441" y="682"/>
                </a:lnTo>
                <a:lnTo>
                  <a:pt x="2413" y="675"/>
                </a:lnTo>
                <a:lnTo>
                  <a:pt x="2384" y="672"/>
                </a:lnTo>
                <a:close/>
                <a:moveTo>
                  <a:pt x="1889" y="672"/>
                </a:moveTo>
                <a:lnTo>
                  <a:pt x="1859" y="675"/>
                </a:lnTo>
                <a:lnTo>
                  <a:pt x="1830" y="682"/>
                </a:lnTo>
                <a:lnTo>
                  <a:pt x="1805" y="695"/>
                </a:lnTo>
                <a:lnTo>
                  <a:pt x="1782" y="712"/>
                </a:lnTo>
                <a:lnTo>
                  <a:pt x="1762" y="731"/>
                </a:lnTo>
                <a:lnTo>
                  <a:pt x="1746" y="754"/>
                </a:lnTo>
                <a:lnTo>
                  <a:pt x="1734" y="780"/>
                </a:lnTo>
                <a:lnTo>
                  <a:pt x="1726" y="808"/>
                </a:lnTo>
                <a:lnTo>
                  <a:pt x="1723" y="838"/>
                </a:lnTo>
                <a:lnTo>
                  <a:pt x="1726" y="867"/>
                </a:lnTo>
                <a:lnTo>
                  <a:pt x="1734" y="895"/>
                </a:lnTo>
                <a:lnTo>
                  <a:pt x="1746" y="922"/>
                </a:lnTo>
                <a:lnTo>
                  <a:pt x="1762" y="945"/>
                </a:lnTo>
                <a:lnTo>
                  <a:pt x="1782" y="964"/>
                </a:lnTo>
                <a:lnTo>
                  <a:pt x="1805" y="980"/>
                </a:lnTo>
                <a:lnTo>
                  <a:pt x="1830" y="993"/>
                </a:lnTo>
                <a:lnTo>
                  <a:pt x="1859" y="1000"/>
                </a:lnTo>
                <a:lnTo>
                  <a:pt x="1889" y="1003"/>
                </a:lnTo>
                <a:lnTo>
                  <a:pt x="1918" y="1000"/>
                </a:lnTo>
                <a:lnTo>
                  <a:pt x="1946" y="993"/>
                </a:lnTo>
                <a:lnTo>
                  <a:pt x="1971" y="980"/>
                </a:lnTo>
                <a:lnTo>
                  <a:pt x="1995" y="964"/>
                </a:lnTo>
                <a:lnTo>
                  <a:pt x="2015" y="945"/>
                </a:lnTo>
                <a:lnTo>
                  <a:pt x="2031" y="922"/>
                </a:lnTo>
                <a:lnTo>
                  <a:pt x="2043" y="895"/>
                </a:lnTo>
                <a:lnTo>
                  <a:pt x="2050" y="867"/>
                </a:lnTo>
                <a:lnTo>
                  <a:pt x="2054" y="838"/>
                </a:lnTo>
                <a:lnTo>
                  <a:pt x="2050" y="808"/>
                </a:lnTo>
                <a:lnTo>
                  <a:pt x="2043" y="780"/>
                </a:lnTo>
                <a:lnTo>
                  <a:pt x="2031" y="754"/>
                </a:lnTo>
                <a:lnTo>
                  <a:pt x="2015" y="731"/>
                </a:lnTo>
                <a:lnTo>
                  <a:pt x="1995" y="712"/>
                </a:lnTo>
                <a:lnTo>
                  <a:pt x="1971" y="695"/>
                </a:lnTo>
                <a:lnTo>
                  <a:pt x="1946" y="682"/>
                </a:lnTo>
                <a:lnTo>
                  <a:pt x="1918" y="675"/>
                </a:lnTo>
                <a:lnTo>
                  <a:pt x="1889" y="672"/>
                </a:lnTo>
                <a:close/>
                <a:moveTo>
                  <a:pt x="2384" y="0"/>
                </a:moveTo>
                <a:lnTo>
                  <a:pt x="2466" y="2"/>
                </a:lnTo>
                <a:lnTo>
                  <a:pt x="2547" y="10"/>
                </a:lnTo>
                <a:lnTo>
                  <a:pt x="2626" y="22"/>
                </a:lnTo>
                <a:lnTo>
                  <a:pt x="2702" y="39"/>
                </a:lnTo>
                <a:lnTo>
                  <a:pt x="2777" y="60"/>
                </a:lnTo>
                <a:lnTo>
                  <a:pt x="2848" y="85"/>
                </a:lnTo>
                <a:lnTo>
                  <a:pt x="2917" y="114"/>
                </a:lnTo>
                <a:lnTo>
                  <a:pt x="2982" y="147"/>
                </a:lnTo>
                <a:lnTo>
                  <a:pt x="3044" y="184"/>
                </a:lnTo>
                <a:lnTo>
                  <a:pt x="3103" y="224"/>
                </a:lnTo>
                <a:lnTo>
                  <a:pt x="3158" y="268"/>
                </a:lnTo>
                <a:lnTo>
                  <a:pt x="3208" y="314"/>
                </a:lnTo>
                <a:lnTo>
                  <a:pt x="3254" y="363"/>
                </a:lnTo>
                <a:lnTo>
                  <a:pt x="3296" y="415"/>
                </a:lnTo>
                <a:lnTo>
                  <a:pt x="3333" y="469"/>
                </a:lnTo>
                <a:lnTo>
                  <a:pt x="3365" y="526"/>
                </a:lnTo>
                <a:lnTo>
                  <a:pt x="3391" y="585"/>
                </a:lnTo>
                <a:lnTo>
                  <a:pt x="3412" y="646"/>
                </a:lnTo>
                <a:lnTo>
                  <a:pt x="3427" y="708"/>
                </a:lnTo>
                <a:lnTo>
                  <a:pt x="3437" y="772"/>
                </a:lnTo>
                <a:lnTo>
                  <a:pt x="3440" y="838"/>
                </a:lnTo>
                <a:lnTo>
                  <a:pt x="3437" y="903"/>
                </a:lnTo>
                <a:lnTo>
                  <a:pt x="3427" y="968"/>
                </a:lnTo>
                <a:lnTo>
                  <a:pt x="3412" y="1030"/>
                </a:lnTo>
                <a:lnTo>
                  <a:pt x="3391" y="1091"/>
                </a:lnTo>
                <a:lnTo>
                  <a:pt x="3365" y="1149"/>
                </a:lnTo>
                <a:lnTo>
                  <a:pt x="3333" y="1206"/>
                </a:lnTo>
                <a:lnTo>
                  <a:pt x="3296" y="1260"/>
                </a:lnTo>
                <a:lnTo>
                  <a:pt x="3254" y="1312"/>
                </a:lnTo>
                <a:lnTo>
                  <a:pt x="3208" y="1361"/>
                </a:lnTo>
                <a:lnTo>
                  <a:pt x="3158" y="1408"/>
                </a:lnTo>
                <a:lnTo>
                  <a:pt x="3103" y="1451"/>
                </a:lnTo>
                <a:lnTo>
                  <a:pt x="3044" y="1491"/>
                </a:lnTo>
                <a:lnTo>
                  <a:pt x="2982" y="1529"/>
                </a:lnTo>
                <a:lnTo>
                  <a:pt x="2917" y="1561"/>
                </a:lnTo>
                <a:lnTo>
                  <a:pt x="2848" y="1590"/>
                </a:lnTo>
                <a:lnTo>
                  <a:pt x="2777" y="1615"/>
                </a:lnTo>
                <a:lnTo>
                  <a:pt x="2702" y="1636"/>
                </a:lnTo>
                <a:lnTo>
                  <a:pt x="2626" y="1653"/>
                </a:lnTo>
                <a:lnTo>
                  <a:pt x="2547" y="1665"/>
                </a:lnTo>
                <a:lnTo>
                  <a:pt x="2466" y="1673"/>
                </a:lnTo>
                <a:lnTo>
                  <a:pt x="2384" y="1676"/>
                </a:lnTo>
                <a:lnTo>
                  <a:pt x="2326" y="1674"/>
                </a:lnTo>
                <a:lnTo>
                  <a:pt x="2268" y="1670"/>
                </a:lnTo>
                <a:lnTo>
                  <a:pt x="2213" y="1663"/>
                </a:lnTo>
                <a:lnTo>
                  <a:pt x="2167" y="1706"/>
                </a:lnTo>
                <a:lnTo>
                  <a:pt x="2118" y="1744"/>
                </a:lnTo>
                <a:lnTo>
                  <a:pt x="2065" y="1778"/>
                </a:lnTo>
                <a:lnTo>
                  <a:pt x="2009" y="1810"/>
                </a:lnTo>
                <a:lnTo>
                  <a:pt x="1949" y="1836"/>
                </a:lnTo>
                <a:lnTo>
                  <a:pt x="1887" y="1860"/>
                </a:lnTo>
                <a:lnTo>
                  <a:pt x="1821" y="1880"/>
                </a:lnTo>
                <a:lnTo>
                  <a:pt x="1753" y="1895"/>
                </a:lnTo>
                <a:lnTo>
                  <a:pt x="1682" y="1909"/>
                </a:lnTo>
                <a:lnTo>
                  <a:pt x="1611" y="1919"/>
                </a:lnTo>
                <a:lnTo>
                  <a:pt x="1537" y="1927"/>
                </a:lnTo>
                <a:lnTo>
                  <a:pt x="1577" y="1882"/>
                </a:lnTo>
                <a:lnTo>
                  <a:pt x="1615" y="1833"/>
                </a:lnTo>
                <a:lnTo>
                  <a:pt x="1648" y="1781"/>
                </a:lnTo>
                <a:lnTo>
                  <a:pt x="1678" y="1728"/>
                </a:lnTo>
                <a:lnTo>
                  <a:pt x="1704" y="1673"/>
                </a:lnTo>
                <a:lnTo>
                  <a:pt x="1726" y="1617"/>
                </a:lnTo>
                <a:lnTo>
                  <a:pt x="1743" y="1563"/>
                </a:lnTo>
                <a:lnTo>
                  <a:pt x="1754" y="1510"/>
                </a:lnTo>
                <a:lnTo>
                  <a:pt x="1697" y="1473"/>
                </a:lnTo>
                <a:lnTo>
                  <a:pt x="1642" y="1433"/>
                </a:lnTo>
                <a:lnTo>
                  <a:pt x="1591" y="1391"/>
                </a:lnTo>
                <a:lnTo>
                  <a:pt x="1544" y="1345"/>
                </a:lnTo>
                <a:lnTo>
                  <a:pt x="1500" y="1297"/>
                </a:lnTo>
                <a:lnTo>
                  <a:pt x="1461" y="1246"/>
                </a:lnTo>
                <a:lnTo>
                  <a:pt x="1427" y="1193"/>
                </a:lnTo>
                <a:lnTo>
                  <a:pt x="1398" y="1138"/>
                </a:lnTo>
                <a:lnTo>
                  <a:pt x="1373" y="1081"/>
                </a:lnTo>
                <a:lnTo>
                  <a:pt x="1353" y="1023"/>
                </a:lnTo>
                <a:lnTo>
                  <a:pt x="1338" y="962"/>
                </a:lnTo>
                <a:lnTo>
                  <a:pt x="1330" y="901"/>
                </a:lnTo>
                <a:lnTo>
                  <a:pt x="1327" y="838"/>
                </a:lnTo>
                <a:lnTo>
                  <a:pt x="1330" y="772"/>
                </a:lnTo>
                <a:lnTo>
                  <a:pt x="1340" y="708"/>
                </a:lnTo>
                <a:lnTo>
                  <a:pt x="1355" y="646"/>
                </a:lnTo>
                <a:lnTo>
                  <a:pt x="1376" y="585"/>
                </a:lnTo>
                <a:lnTo>
                  <a:pt x="1403" y="526"/>
                </a:lnTo>
                <a:lnTo>
                  <a:pt x="1434" y="469"/>
                </a:lnTo>
                <a:lnTo>
                  <a:pt x="1472" y="415"/>
                </a:lnTo>
                <a:lnTo>
                  <a:pt x="1513" y="363"/>
                </a:lnTo>
                <a:lnTo>
                  <a:pt x="1559" y="314"/>
                </a:lnTo>
                <a:lnTo>
                  <a:pt x="1610" y="268"/>
                </a:lnTo>
                <a:lnTo>
                  <a:pt x="1665" y="224"/>
                </a:lnTo>
                <a:lnTo>
                  <a:pt x="1723" y="184"/>
                </a:lnTo>
                <a:lnTo>
                  <a:pt x="1785" y="147"/>
                </a:lnTo>
                <a:lnTo>
                  <a:pt x="1850" y="114"/>
                </a:lnTo>
                <a:lnTo>
                  <a:pt x="1919" y="85"/>
                </a:lnTo>
                <a:lnTo>
                  <a:pt x="1990" y="60"/>
                </a:lnTo>
                <a:lnTo>
                  <a:pt x="2065" y="39"/>
                </a:lnTo>
                <a:lnTo>
                  <a:pt x="2141" y="22"/>
                </a:lnTo>
                <a:lnTo>
                  <a:pt x="2220" y="10"/>
                </a:lnTo>
                <a:lnTo>
                  <a:pt x="2301" y="2"/>
                </a:lnTo>
                <a:lnTo>
                  <a:pt x="238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00" name="Group 262"/>
          <p:cNvGrpSpPr/>
          <p:nvPr/>
        </p:nvGrpSpPr>
        <p:grpSpPr>
          <a:xfrm>
            <a:off x="5456323" y="5532216"/>
            <a:ext cx="296750" cy="388489"/>
            <a:chOff x="-1103313" y="2519363"/>
            <a:chExt cx="414338" cy="598488"/>
          </a:xfrm>
          <a:solidFill>
            <a:schemeClr val="bg1"/>
          </a:solidFill>
        </p:grpSpPr>
        <p:sp>
          <p:nvSpPr>
            <p:cNvPr id="101" name="Freeform 91"/>
            <p:cNvSpPr>
              <a:spLocks noEditPoints="1"/>
            </p:cNvSpPr>
            <p:nvPr/>
          </p:nvSpPr>
          <p:spPr bwMode="auto">
            <a:xfrm>
              <a:off x="-1103313" y="2519363"/>
              <a:ext cx="414338" cy="598488"/>
            </a:xfrm>
            <a:custGeom>
              <a:avLst/>
              <a:gdLst>
                <a:gd name="T0" fmla="*/ 1610 w 2347"/>
                <a:gd name="T1" fmla="*/ 805 h 3396"/>
                <a:gd name="T2" fmla="*/ 373 w 2347"/>
                <a:gd name="T3" fmla="*/ 449 h 3396"/>
                <a:gd name="T4" fmla="*/ 283 w 2347"/>
                <a:gd name="T5" fmla="*/ 477 h 3396"/>
                <a:gd name="T6" fmla="*/ 226 w 2347"/>
                <a:gd name="T7" fmla="*/ 547 h 3396"/>
                <a:gd name="T8" fmla="*/ 213 w 2347"/>
                <a:gd name="T9" fmla="*/ 3025 h 3396"/>
                <a:gd name="T10" fmla="*/ 241 w 2347"/>
                <a:gd name="T11" fmla="*/ 3113 h 3396"/>
                <a:gd name="T12" fmla="*/ 311 w 2347"/>
                <a:gd name="T13" fmla="*/ 3170 h 3396"/>
                <a:gd name="T14" fmla="*/ 1974 w 2347"/>
                <a:gd name="T15" fmla="*/ 3183 h 3396"/>
                <a:gd name="T16" fmla="*/ 2064 w 2347"/>
                <a:gd name="T17" fmla="*/ 3155 h 3396"/>
                <a:gd name="T18" fmla="*/ 2122 w 2347"/>
                <a:gd name="T19" fmla="*/ 3086 h 3396"/>
                <a:gd name="T20" fmla="*/ 2134 w 2347"/>
                <a:gd name="T21" fmla="*/ 609 h 3396"/>
                <a:gd name="T22" fmla="*/ 2107 w 2347"/>
                <a:gd name="T23" fmla="*/ 520 h 3396"/>
                <a:gd name="T24" fmla="*/ 2036 w 2347"/>
                <a:gd name="T25" fmla="*/ 462 h 3396"/>
                <a:gd name="T26" fmla="*/ 1821 w 2347"/>
                <a:gd name="T27" fmla="*/ 449 h 3396"/>
                <a:gd name="T28" fmla="*/ 1809 w 2347"/>
                <a:gd name="T29" fmla="*/ 894 h 3396"/>
                <a:gd name="T30" fmla="*/ 1755 w 2347"/>
                <a:gd name="T31" fmla="*/ 971 h 3396"/>
                <a:gd name="T32" fmla="*/ 1668 w 2347"/>
                <a:gd name="T33" fmla="*/ 1011 h 3396"/>
                <a:gd name="T34" fmla="*/ 679 w 2347"/>
                <a:gd name="T35" fmla="*/ 1011 h 3396"/>
                <a:gd name="T36" fmla="*/ 592 w 2347"/>
                <a:gd name="T37" fmla="*/ 971 h 3396"/>
                <a:gd name="T38" fmla="*/ 538 w 2347"/>
                <a:gd name="T39" fmla="*/ 894 h 3396"/>
                <a:gd name="T40" fmla="*/ 526 w 2347"/>
                <a:gd name="T41" fmla="*/ 449 h 3396"/>
                <a:gd name="T42" fmla="*/ 1152 w 2347"/>
                <a:gd name="T43" fmla="*/ 75 h 3396"/>
                <a:gd name="T44" fmla="*/ 1104 w 2347"/>
                <a:gd name="T45" fmla="*/ 112 h 3396"/>
                <a:gd name="T46" fmla="*/ 1096 w 2347"/>
                <a:gd name="T47" fmla="*/ 174 h 3396"/>
                <a:gd name="T48" fmla="*/ 1132 w 2347"/>
                <a:gd name="T49" fmla="*/ 222 h 3396"/>
                <a:gd name="T50" fmla="*/ 1195 w 2347"/>
                <a:gd name="T51" fmla="*/ 230 h 3396"/>
                <a:gd name="T52" fmla="*/ 1244 w 2347"/>
                <a:gd name="T53" fmla="*/ 193 h 3396"/>
                <a:gd name="T54" fmla="*/ 1251 w 2347"/>
                <a:gd name="T55" fmla="*/ 131 h 3396"/>
                <a:gd name="T56" fmla="*/ 1215 w 2347"/>
                <a:gd name="T57" fmla="*/ 84 h 3396"/>
                <a:gd name="T58" fmla="*/ 989 w 2347"/>
                <a:gd name="T59" fmla="*/ 0 h 3396"/>
                <a:gd name="T60" fmla="*/ 1421 w 2347"/>
                <a:gd name="T61" fmla="*/ 12 h 3396"/>
                <a:gd name="T62" fmla="*/ 1493 w 2347"/>
                <a:gd name="T63" fmla="*/ 71 h 3396"/>
                <a:gd name="T64" fmla="*/ 1519 w 2347"/>
                <a:gd name="T65" fmla="*/ 161 h 3396"/>
                <a:gd name="T66" fmla="*/ 2021 w 2347"/>
                <a:gd name="T67" fmla="*/ 241 h 3396"/>
                <a:gd name="T68" fmla="*/ 2149 w 2347"/>
                <a:gd name="T69" fmla="*/ 281 h 3396"/>
                <a:gd name="T70" fmla="*/ 2253 w 2347"/>
                <a:gd name="T71" fmla="*/ 362 h 3396"/>
                <a:gd name="T72" fmla="*/ 2323 w 2347"/>
                <a:gd name="T73" fmla="*/ 475 h 3396"/>
                <a:gd name="T74" fmla="*/ 2347 w 2347"/>
                <a:gd name="T75" fmla="*/ 609 h 3396"/>
                <a:gd name="T76" fmla="*/ 2335 w 2347"/>
                <a:gd name="T77" fmla="*/ 3115 h 3396"/>
                <a:gd name="T78" fmla="*/ 2281 w 2347"/>
                <a:gd name="T79" fmla="*/ 3236 h 3396"/>
                <a:gd name="T80" fmla="*/ 2187 w 2347"/>
                <a:gd name="T81" fmla="*/ 3329 h 3396"/>
                <a:gd name="T82" fmla="*/ 2066 w 2347"/>
                <a:gd name="T83" fmla="*/ 3384 h 3396"/>
                <a:gd name="T84" fmla="*/ 373 w 2347"/>
                <a:gd name="T85" fmla="*/ 3396 h 3396"/>
                <a:gd name="T86" fmla="*/ 238 w 2347"/>
                <a:gd name="T87" fmla="*/ 3370 h 3396"/>
                <a:gd name="T88" fmla="*/ 125 w 2347"/>
                <a:gd name="T89" fmla="*/ 3301 h 3396"/>
                <a:gd name="T90" fmla="*/ 44 w 2347"/>
                <a:gd name="T91" fmla="*/ 3198 h 3396"/>
                <a:gd name="T92" fmla="*/ 3 w 2347"/>
                <a:gd name="T93" fmla="*/ 3070 h 3396"/>
                <a:gd name="T94" fmla="*/ 3 w 2347"/>
                <a:gd name="T95" fmla="*/ 562 h 3396"/>
                <a:gd name="T96" fmla="*/ 44 w 2347"/>
                <a:gd name="T97" fmla="*/ 435 h 3396"/>
                <a:gd name="T98" fmla="*/ 125 w 2347"/>
                <a:gd name="T99" fmla="*/ 331 h 3396"/>
                <a:gd name="T100" fmla="*/ 238 w 2347"/>
                <a:gd name="T101" fmla="*/ 262 h 3396"/>
                <a:gd name="T102" fmla="*/ 373 w 2347"/>
                <a:gd name="T103" fmla="*/ 238 h 3396"/>
                <a:gd name="T104" fmla="*/ 831 w 2347"/>
                <a:gd name="T105" fmla="*/ 128 h 3396"/>
                <a:gd name="T106" fmla="*/ 875 w 2347"/>
                <a:gd name="T107" fmla="*/ 47 h 3396"/>
                <a:gd name="T108" fmla="*/ 956 w 2347"/>
                <a:gd name="T109" fmla="*/ 3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7" h="3396">
                  <a:moveTo>
                    <a:pt x="737" y="465"/>
                  </a:moveTo>
                  <a:lnTo>
                    <a:pt x="737" y="805"/>
                  </a:lnTo>
                  <a:lnTo>
                    <a:pt x="1610" y="805"/>
                  </a:lnTo>
                  <a:lnTo>
                    <a:pt x="1610" y="465"/>
                  </a:lnTo>
                  <a:lnTo>
                    <a:pt x="737" y="465"/>
                  </a:lnTo>
                  <a:close/>
                  <a:moveTo>
                    <a:pt x="373" y="449"/>
                  </a:moveTo>
                  <a:lnTo>
                    <a:pt x="341" y="453"/>
                  </a:lnTo>
                  <a:lnTo>
                    <a:pt x="311" y="462"/>
                  </a:lnTo>
                  <a:lnTo>
                    <a:pt x="283" y="477"/>
                  </a:lnTo>
                  <a:lnTo>
                    <a:pt x="260" y="496"/>
                  </a:lnTo>
                  <a:lnTo>
                    <a:pt x="241" y="520"/>
                  </a:lnTo>
                  <a:lnTo>
                    <a:pt x="226" y="547"/>
                  </a:lnTo>
                  <a:lnTo>
                    <a:pt x="217" y="577"/>
                  </a:lnTo>
                  <a:lnTo>
                    <a:pt x="213" y="609"/>
                  </a:lnTo>
                  <a:lnTo>
                    <a:pt x="213" y="3025"/>
                  </a:lnTo>
                  <a:lnTo>
                    <a:pt x="217" y="3056"/>
                  </a:lnTo>
                  <a:lnTo>
                    <a:pt x="226" y="3086"/>
                  </a:lnTo>
                  <a:lnTo>
                    <a:pt x="241" y="3113"/>
                  </a:lnTo>
                  <a:lnTo>
                    <a:pt x="260" y="3136"/>
                  </a:lnTo>
                  <a:lnTo>
                    <a:pt x="283" y="3155"/>
                  </a:lnTo>
                  <a:lnTo>
                    <a:pt x="311" y="3170"/>
                  </a:lnTo>
                  <a:lnTo>
                    <a:pt x="341" y="3180"/>
                  </a:lnTo>
                  <a:lnTo>
                    <a:pt x="373" y="3183"/>
                  </a:lnTo>
                  <a:lnTo>
                    <a:pt x="1974" y="3183"/>
                  </a:lnTo>
                  <a:lnTo>
                    <a:pt x="2006" y="3180"/>
                  </a:lnTo>
                  <a:lnTo>
                    <a:pt x="2036" y="3170"/>
                  </a:lnTo>
                  <a:lnTo>
                    <a:pt x="2064" y="3155"/>
                  </a:lnTo>
                  <a:lnTo>
                    <a:pt x="2087" y="3136"/>
                  </a:lnTo>
                  <a:lnTo>
                    <a:pt x="2107" y="3113"/>
                  </a:lnTo>
                  <a:lnTo>
                    <a:pt x="2122" y="3086"/>
                  </a:lnTo>
                  <a:lnTo>
                    <a:pt x="2131" y="3056"/>
                  </a:lnTo>
                  <a:lnTo>
                    <a:pt x="2134" y="3025"/>
                  </a:lnTo>
                  <a:lnTo>
                    <a:pt x="2134" y="609"/>
                  </a:lnTo>
                  <a:lnTo>
                    <a:pt x="2131" y="577"/>
                  </a:lnTo>
                  <a:lnTo>
                    <a:pt x="2122" y="547"/>
                  </a:lnTo>
                  <a:lnTo>
                    <a:pt x="2107" y="520"/>
                  </a:lnTo>
                  <a:lnTo>
                    <a:pt x="2087" y="496"/>
                  </a:lnTo>
                  <a:lnTo>
                    <a:pt x="2064" y="477"/>
                  </a:lnTo>
                  <a:lnTo>
                    <a:pt x="2036" y="462"/>
                  </a:lnTo>
                  <a:lnTo>
                    <a:pt x="2006" y="453"/>
                  </a:lnTo>
                  <a:lnTo>
                    <a:pt x="1974" y="449"/>
                  </a:lnTo>
                  <a:lnTo>
                    <a:pt x="1821" y="449"/>
                  </a:lnTo>
                  <a:lnTo>
                    <a:pt x="1821" y="829"/>
                  </a:lnTo>
                  <a:lnTo>
                    <a:pt x="1818" y="862"/>
                  </a:lnTo>
                  <a:lnTo>
                    <a:pt x="1809" y="894"/>
                  </a:lnTo>
                  <a:lnTo>
                    <a:pt x="1795" y="923"/>
                  </a:lnTo>
                  <a:lnTo>
                    <a:pt x="1777" y="948"/>
                  </a:lnTo>
                  <a:lnTo>
                    <a:pt x="1755" y="971"/>
                  </a:lnTo>
                  <a:lnTo>
                    <a:pt x="1729" y="989"/>
                  </a:lnTo>
                  <a:lnTo>
                    <a:pt x="1700" y="1003"/>
                  </a:lnTo>
                  <a:lnTo>
                    <a:pt x="1668" y="1011"/>
                  </a:lnTo>
                  <a:lnTo>
                    <a:pt x="1635" y="1014"/>
                  </a:lnTo>
                  <a:lnTo>
                    <a:pt x="712" y="1014"/>
                  </a:lnTo>
                  <a:lnTo>
                    <a:pt x="679" y="1011"/>
                  </a:lnTo>
                  <a:lnTo>
                    <a:pt x="647" y="1003"/>
                  </a:lnTo>
                  <a:lnTo>
                    <a:pt x="618" y="989"/>
                  </a:lnTo>
                  <a:lnTo>
                    <a:pt x="592" y="971"/>
                  </a:lnTo>
                  <a:lnTo>
                    <a:pt x="570" y="948"/>
                  </a:lnTo>
                  <a:lnTo>
                    <a:pt x="552" y="923"/>
                  </a:lnTo>
                  <a:lnTo>
                    <a:pt x="538" y="894"/>
                  </a:lnTo>
                  <a:lnTo>
                    <a:pt x="529" y="862"/>
                  </a:lnTo>
                  <a:lnTo>
                    <a:pt x="526" y="829"/>
                  </a:lnTo>
                  <a:lnTo>
                    <a:pt x="526" y="449"/>
                  </a:lnTo>
                  <a:lnTo>
                    <a:pt x="373" y="449"/>
                  </a:lnTo>
                  <a:close/>
                  <a:moveTo>
                    <a:pt x="1174" y="73"/>
                  </a:moveTo>
                  <a:lnTo>
                    <a:pt x="1152" y="75"/>
                  </a:lnTo>
                  <a:lnTo>
                    <a:pt x="1132" y="84"/>
                  </a:lnTo>
                  <a:lnTo>
                    <a:pt x="1116" y="96"/>
                  </a:lnTo>
                  <a:lnTo>
                    <a:pt x="1104" y="112"/>
                  </a:lnTo>
                  <a:lnTo>
                    <a:pt x="1096" y="131"/>
                  </a:lnTo>
                  <a:lnTo>
                    <a:pt x="1093" y="153"/>
                  </a:lnTo>
                  <a:lnTo>
                    <a:pt x="1096" y="174"/>
                  </a:lnTo>
                  <a:lnTo>
                    <a:pt x="1104" y="193"/>
                  </a:lnTo>
                  <a:lnTo>
                    <a:pt x="1116" y="209"/>
                  </a:lnTo>
                  <a:lnTo>
                    <a:pt x="1132" y="222"/>
                  </a:lnTo>
                  <a:lnTo>
                    <a:pt x="1152" y="230"/>
                  </a:lnTo>
                  <a:lnTo>
                    <a:pt x="1174" y="234"/>
                  </a:lnTo>
                  <a:lnTo>
                    <a:pt x="1195" y="230"/>
                  </a:lnTo>
                  <a:lnTo>
                    <a:pt x="1215" y="222"/>
                  </a:lnTo>
                  <a:lnTo>
                    <a:pt x="1231" y="209"/>
                  </a:lnTo>
                  <a:lnTo>
                    <a:pt x="1244" y="193"/>
                  </a:lnTo>
                  <a:lnTo>
                    <a:pt x="1251" y="174"/>
                  </a:lnTo>
                  <a:lnTo>
                    <a:pt x="1254" y="153"/>
                  </a:lnTo>
                  <a:lnTo>
                    <a:pt x="1251" y="131"/>
                  </a:lnTo>
                  <a:lnTo>
                    <a:pt x="1244" y="112"/>
                  </a:lnTo>
                  <a:lnTo>
                    <a:pt x="1231" y="96"/>
                  </a:lnTo>
                  <a:lnTo>
                    <a:pt x="1215" y="84"/>
                  </a:lnTo>
                  <a:lnTo>
                    <a:pt x="1195" y="75"/>
                  </a:lnTo>
                  <a:lnTo>
                    <a:pt x="1174" y="73"/>
                  </a:lnTo>
                  <a:close/>
                  <a:moveTo>
                    <a:pt x="989" y="0"/>
                  </a:moveTo>
                  <a:lnTo>
                    <a:pt x="1358" y="0"/>
                  </a:lnTo>
                  <a:lnTo>
                    <a:pt x="1390" y="3"/>
                  </a:lnTo>
                  <a:lnTo>
                    <a:pt x="1421" y="12"/>
                  </a:lnTo>
                  <a:lnTo>
                    <a:pt x="1449" y="27"/>
                  </a:lnTo>
                  <a:lnTo>
                    <a:pt x="1472" y="47"/>
                  </a:lnTo>
                  <a:lnTo>
                    <a:pt x="1493" y="71"/>
                  </a:lnTo>
                  <a:lnTo>
                    <a:pt x="1507" y="98"/>
                  </a:lnTo>
                  <a:lnTo>
                    <a:pt x="1516" y="128"/>
                  </a:lnTo>
                  <a:lnTo>
                    <a:pt x="1519" y="161"/>
                  </a:lnTo>
                  <a:lnTo>
                    <a:pt x="1519" y="238"/>
                  </a:lnTo>
                  <a:lnTo>
                    <a:pt x="1974" y="238"/>
                  </a:lnTo>
                  <a:lnTo>
                    <a:pt x="2021" y="241"/>
                  </a:lnTo>
                  <a:lnTo>
                    <a:pt x="2066" y="250"/>
                  </a:lnTo>
                  <a:lnTo>
                    <a:pt x="2109" y="262"/>
                  </a:lnTo>
                  <a:lnTo>
                    <a:pt x="2149" y="281"/>
                  </a:lnTo>
                  <a:lnTo>
                    <a:pt x="2187" y="304"/>
                  </a:lnTo>
                  <a:lnTo>
                    <a:pt x="2222" y="331"/>
                  </a:lnTo>
                  <a:lnTo>
                    <a:pt x="2253" y="362"/>
                  </a:lnTo>
                  <a:lnTo>
                    <a:pt x="2281" y="397"/>
                  </a:lnTo>
                  <a:lnTo>
                    <a:pt x="2303" y="435"/>
                  </a:lnTo>
                  <a:lnTo>
                    <a:pt x="2323" y="475"/>
                  </a:lnTo>
                  <a:lnTo>
                    <a:pt x="2336" y="518"/>
                  </a:lnTo>
                  <a:lnTo>
                    <a:pt x="2344" y="562"/>
                  </a:lnTo>
                  <a:lnTo>
                    <a:pt x="2347" y="609"/>
                  </a:lnTo>
                  <a:lnTo>
                    <a:pt x="2347" y="3025"/>
                  </a:lnTo>
                  <a:lnTo>
                    <a:pt x="2344" y="3070"/>
                  </a:lnTo>
                  <a:lnTo>
                    <a:pt x="2335" y="3115"/>
                  </a:lnTo>
                  <a:lnTo>
                    <a:pt x="2323" y="3159"/>
                  </a:lnTo>
                  <a:lnTo>
                    <a:pt x="2303" y="3198"/>
                  </a:lnTo>
                  <a:lnTo>
                    <a:pt x="2281" y="3236"/>
                  </a:lnTo>
                  <a:lnTo>
                    <a:pt x="2253" y="3270"/>
                  </a:lnTo>
                  <a:lnTo>
                    <a:pt x="2222" y="3301"/>
                  </a:lnTo>
                  <a:lnTo>
                    <a:pt x="2187" y="3329"/>
                  </a:lnTo>
                  <a:lnTo>
                    <a:pt x="2149" y="3352"/>
                  </a:lnTo>
                  <a:lnTo>
                    <a:pt x="2109" y="3370"/>
                  </a:lnTo>
                  <a:lnTo>
                    <a:pt x="2066" y="3384"/>
                  </a:lnTo>
                  <a:lnTo>
                    <a:pt x="2021" y="3393"/>
                  </a:lnTo>
                  <a:lnTo>
                    <a:pt x="1974" y="3396"/>
                  </a:lnTo>
                  <a:lnTo>
                    <a:pt x="373" y="3396"/>
                  </a:lnTo>
                  <a:lnTo>
                    <a:pt x="326" y="3393"/>
                  </a:lnTo>
                  <a:lnTo>
                    <a:pt x="281" y="3384"/>
                  </a:lnTo>
                  <a:lnTo>
                    <a:pt x="238" y="3370"/>
                  </a:lnTo>
                  <a:lnTo>
                    <a:pt x="198" y="3352"/>
                  </a:lnTo>
                  <a:lnTo>
                    <a:pt x="160" y="3329"/>
                  </a:lnTo>
                  <a:lnTo>
                    <a:pt x="125" y="3301"/>
                  </a:lnTo>
                  <a:lnTo>
                    <a:pt x="94" y="3270"/>
                  </a:lnTo>
                  <a:lnTo>
                    <a:pt x="66" y="3236"/>
                  </a:lnTo>
                  <a:lnTo>
                    <a:pt x="44" y="3198"/>
                  </a:lnTo>
                  <a:lnTo>
                    <a:pt x="25" y="3159"/>
                  </a:lnTo>
                  <a:lnTo>
                    <a:pt x="11" y="3115"/>
                  </a:lnTo>
                  <a:lnTo>
                    <a:pt x="3" y="3070"/>
                  </a:lnTo>
                  <a:lnTo>
                    <a:pt x="0" y="3025"/>
                  </a:lnTo>
                  <a:lnTo>
                    <a:pt x="0" y="609"/>
                  </a:lnTo>
                  <a:lnTo>
                    <a:pt x="3" y="562"/>
                  </a:lnTo>
                  <a:lnTo>
                    <a:pt x="11" y="518"/>
                  </a:lnTo>
                  <a:lnTo>
                    <a:pt x="25" y="475"/>
                  </a:lnTo>
                  <a:lnTo>
                    <a:pt x="44" y="435"/>
                  </a:lnTo>
                  <a:lnTo>
                    <a:pt x="66" y="397"/>
                  </a:lnTo>
                  <a:lnTo>
                    <a:pt x="94" y="362"/>
                  </a:lnTo>
                  <a:lnTo>
                    <a:pt x="125" y="331"/>
                  </a:lnTo>
                  <a:lnTo>
                    <a:pt x="160" y="304"/>
                  </a:lnTo>
                  <a:lnTo>
                    <a:pt x="198" y="281"/>
                  </a:lnTo>
                  <a:lnTo>
                    <a:pt x="238" y="262"/>
                  </a:lnTo>
                  <a:lnTo>
                    <a:pt x="281" y="250"/>
                  </a:lnTo>
                  <a:lnTo>
                    <a:pt x="326" y="241"/>
                  </a:lnTo>
                  <a:lnTo>
                    <a:pt x="373" y="238"/>
                  </a:lnTo>
                  <a:lnTo>
                    <a:pt x="828" y="238"/>
                  </a:lnTo>
                  <a:lnTo>
                    <a:pt x="828" y="161"/>
                  </a:lnTo>
                  <a:lnTo>
                    <a:pt x="831" y="128"/>
                  </a:lnTo>
                  <a:lnTo>
                    <a:pt x="840" y="98"/>
                  </a:lnTo>
                  <a:lnTo>
                    <a:pt x="855" y="71"/>
                  </a:lnTo>
                  <a:lnTo>
                    <a:pt x="875" y="47"/>
                  </a:lnTo>
                  <a:lnTo>
                    <a:pt x="898" y="27"/>
                  </a:lnTo>
                  <a:lnTo>
                    <a:pt x="926" y="12"/>
                  </a:lnTo>
                  <a:lnTo>
                    <a:pt x="956" y="3"/>
                  </a:lnTo>
                  <a:lnTo>
                    <a:pt x="9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92"/>
            <p:cNvSpPr>
              <a:spLocks noEditPoints="1"/>
            </p:cNvSpPr>
            <p:nvPr/>
          </p:nvSpPr>
          <p:spPr bwMode="auto">
            <a:xfrm>
              <a:off x="-1041401" y="2757488"/>
              <a:ext cx="96838" cy="79375"/>
            </a:xfrm>
            <a:custGeom>
              <a:avLst/>
              <a:gdLst>
                <a:gd name="T0" fmla="*/ 75 w 546"/>
                <a:gd name="T1" fmla="*/ 69 h 453"/>
                <a:gd name="T2" fmla="*/ 60 w 546"/>
                <a:gd name="T3" fmla="*/ 83 h 453"/>
                <a:gd name="T4" fmla="*/ 58 w 546"/>
                <a:gd name="T5" fmla="*/ 367 h 453"/>
                <a:gd name="T6" fmla="*/ 66 w 546"/>
                <a:gd name="T7" fmla="*/ 388 h 453"/>
                <a:gd name="T8" fmla="*/ 86 w 546"/>
                <a:gd name="T9" fmla="*/ 395 h 453"/>
                <a:gd name="T10" fmla="*/ 345 w 546"/>
                <a:gd name="T11" fmla="*/ 393 h 453"/>
                <a:gd name="T12" fmla="*/ 361 w 546"/>
                <a:gd name="T13" fmla="*/ 378 h 453"/>
                <a:gd name="T14" fmla="*/ 363 w 546"/>
                <a:gd name="T15" fmla="*/ 290 h 453"/>
                <a:gd name="T16" fmla="*/ 292 w 546"/>
                <a:gd name="T17" fmla="*/ 372 h 453"/>
                <a:gd name="T18" fmla="*/ 265 w 546"/>
                <a:gd name="T19" fmla="*/ 380 h 453"/>
                <a:gd name="T20" fmla="*/ 249 w 546"/>
                <a:gd name="T21" fmla="*/ 379 h 453"/>
                <a:gd name="T22" fmla="*/ 225 w 546"/>
                <a:gd name="T23" fmla="*/ 366 h 453"/>
                <a:gd name="T24" fmla="*/ 91 w 546"/>
                <a:gd name="T25" fmla="*/ 238 h 453"/>
                <a:gd name="T26" fmla="*/ 84 w 546"/>
                <a:gd name="T27" fmla="*/ 206 h 453"/>
                <a:gd name="T28" fmla="*/ 98 w 546"/>
                <a:gd name="T29" fmla="*/ 176 h 453"/>
                <a:gd name="T30" fmla="*/ 127 w 546"/>
                <a:gd name="T31" fmla="*/ 160 h 453"/>
                <a:gd name="T32" fmla="*/ 159 w 546"/>
                <a:gd name="T33" fmla="*/ 164 h 453"/>
                <a:gd name="T34" fmla="*/ 218 w 546"/>
                <a:gd name="T35" fmla="*/ 214 h 453"/>
                <a:gd name="T36" fmla="*/ 248 w 546"/>
                <a:gd name="T37" fmla="*/ 228 h 453"/>
                <a:gd name="T38" fmla="*/ 279 w 546"/>
                <a:gd name="T39" fmla="*/ 221 h 453"/>
                <a:gd name="T40" fmla="*/ 363 w 546"/>
                <a:gd name="T41" fmla="*/ 125 h 453"/>
                <a:gd name="T42" fmla="*/ 361 w 546"/>
                <a:gd name="T43" fmla="*/ 83 h 453"/>
                <a:gd name="T44" fmla="*/ 345 w 546"/>
                <a:gd name="T45" fmla="*/ 69 h 453"/>
                <a:gd name="T46" fmla="*/ 86 w 546"/>
                <a:gd name="T47" fmla="*/ 66 h 453"/>
                <a:gd name="T48" fmla="*/ 513 w 546"/>
                <a:gd name="T49" fmla="*/ 4 h 453"/>
                <a:gd name="T50" fmla="*/ 539 w 546"/>
                <a:gd name="T51" fmla="*/ 25 h 453"/>
                <a:gd name="T52" fmla="*/ 546 w 546"/>
                <a:gd name="T53" fmla="*/ 57 h 453"/>
                <a:gd name="T54" fmla="*/ 533 w 546"/>
                <a:gd name="T55" fmla="*/ 87 h 453"/>
                <a:gd name="T56" fmla="*/ 421 w 546"/>
                <a:gd name="T57" fmla="*/ 367 h 453"/>
                <a:gd name="T58" fmla="*/ 409 w 546"/>
                <a:gd name="T59" fmla="*/ 410 h 453"/>
                <a:gd name="T60" fmla="*/ 378 w 546"/>
                <a:gd name="T61" fmla="*/ 441 h 453"/>
                <a:gd name="T62" fmla="*/ 335 w 546"/>
                <a:gd name="T63" fmla="*/ 453 h 453"/>
                <a:gd name="T64" fmla="*/ 63 w 546"/>
                <a:gd name="T65" fmla="*/ 449 h 453"/>
                <a:gd name="T66" fmla="*/ 26 w 546"/>
                <a:gd name="T67" fmla="*/ 428 h 453"/>
                <a:gd name="T68" fmla="*/ 3 w 546"/>
                <a:gd name="T69" fmla="*/ 390 h 453"/>
                <a:gd name="T70" fmla="*/ 0 w 546"/>
                <a:gd name="T71" fmla="*/ 95 h 453"/>
                <a:gd name="T72" fmla="*/ 12 w 546"/>
                <a:gd name="T73" fmla="*/ 52 h 453"/>
                <a:gd name="T74" fmla="*/ 43 w 546"/>
                <a:gd name="T75" fmla="*/ 21 h 453"/>
                <a:gd name="T76" fmla="*/ 86 w 546"/>
                <a:gd name="T77" fmla="*/ 9 h 453"/>
                <a:gd name="T78" fmla="*/ 356 w 546"/>
                <a:gd name="T79" fmla="*/ 11 h 453"/>
                <a:gd name="T80" fmla="*/ 391 w 546"/>
                <a:gd name="T81" fmla="*/ 30 h 453"/>
                <a:gd name="T82" fmla="*/ 415 w 546"/>
                <a:gd name="T83" fmla="*/ 63 h 453"/>
                <a:gd name="T84" fmla="*/ 465 w 546"/>
                <a:gd name="T85" fmla="*/ 8 h 453"/>
                <a:gd name="T86" fmla="*/ 497 w 546"/>
                <a:gd name="T8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53">
                  <a:moveTo>
                    <a:pt x="86" y="66"/>
                  </a:moveTo>
                  <a:lnTo>
                    <a:pt x="75" y="69"/>
                  </a:lnTo>
                  <a:lnTo>
                    <a:pt x="66" y="75"/>
                  </a:lnTo>
                  <a:lnTo>
                    <a:pt x="60" y="83"/>
                  </a:lnTo>
                  <a:lnTo>
                    <a:pt x="58" y="95"/>
                  </a:lnTo>
                  <a:lnTo>
                    <a:pt x="58" y="367"/>
                  </a:lnTo>
                  <a:lnTo>
                    <a:pt x="60" y="378"/>
                  </a:lnTo>
                  <a:lnTo>
                    <a:pt x="66" y="388"/>
                  </a:lnTo>
                  <a:lnTo>
                    <a:pt x="75" y="393"/>
                  </a:lnTo>
                  <a:lnTo>
                    <a:pt x="86" y="395"/>
                  </a:lnTo>
                  <a:lnTo>
                    <a:pt x="335" y="395"/>
                  </a:lnTo>
                  <a:lnTo>
                    <a:pt x="345" y="393"/>
                  </a:lnTo>
                  <a:lnTo>
                    <a:pt x="355" y="388"/>
                  </a:lnTo>
                  <a:lnTo>
                    <a:pt x="361" y="378"/>
                  </a:lnTo>
                  <a:lnTo>
                    <a:pt x="363" y="367"/>
                  </a:lnTo>
                  <a:lnTo>
                    <a:pt x="363" y="290"/>
                  </a:lnTo>
                  <a:lnTo>
                    <a:pt x="302" y="362"/>
                  </a:lnTo>
                  <a:lnTo>
                    <a:pt x="292" y="372"/>
                  </a:lnTo>
                  <a:lnTo>
                    <a:pt x="279" y="378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9"/>
                  </a:lnTo>
                  <a:lnTo>
                    <a:pt x="236" y="374"/>
                  </a:lnTo>
                  <a:lnTo>
                    <a:pt x="225" y="366"/>
                  </a:lnTo>
                  <a:lnTo>
                    <a:pt x="101" y="252"/>
                  </a:lnTo>
                  <a:lnTo>
                    <a:pt x="91" y="238"/>
                  </a:lnTo>
                  <a:lnTo>
                    <a:pt x="85" y="223"/>
                  </a:lnTo>
                  <a:lnTo>
                    <a:pt x="84" y="206"/>
                  </a:lnTo>
                  <a:lnTo>
                    <a:pt x="89" y="191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60"/>
                  </a:lnTo>
                  <a:lnTo>
                    <a:pt x="143" y="160"/>
                  </a:lnTo>
                  <a:lnTo>
                    <a:pt x="159" y="164"/>
                  </a:lnTo>
                  <a:lnTo>
                    <a:pt x="173" y="174"/>
                  </a:lnTo>
                  <a:lnTo>
                    <a:pt x="218" y="214"/>
                  </a:lnTo>
                  <a:lnTo>
                    <a:pt x="232" y="224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92" y="210"/>
                  </a:lnTo>
                  <a:lnTo>
                    <a:pt x="363" y="125"/>
                  </a:lnTo>
                  <a:lnTo>
                    <a:pt x="363" y="95"/>
                  </a:lnTo>
                  <a:lnTo>
                    <a:pt x="361" y="83"/>
                  </a:lnTo>
                  <a:lnTo>
                    <a:pt x="355" y="75"/>
                  </a:lnTo>
                  <a:lnTo>
                    <a:pt x="345" y="69"/>
                  </a:lnTo>
                  <a:lnTo>
                    <a:pt x="335" y="66"/>
                  </a:lnTo>
                  <a:lnTo>
                    <a:pt x="86" y="66"/>
                  </a:lnTo>
                  <a:close/>
                  <a:moveTo>
                    <a:pt x="497" y="0"/>
                  </a:moveTo>
                  <a:lnTo>
                    <a:pt x="513" y="4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41"/>
                  </a:lnTo>
                  <a:lnTo>
                    <a:pt x="546" y="57"/>
                  </a:lnTo>
                  <a:lnTo>
                    <a:pt x="543" y="73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67"/>
                  </a:lnTo>
                  <a:lnTo>
                    <a:pt x="418" y="390"/>
                  </a:lnTo>
                  <a:lnTo>
                    <a:pt x="409" y="410"/>
                  </a:lnTo>
                  <a:lnTo>
                    <a:pt x="396" y="428"/>
                  </a:lnTo>
                  <a:lnTo>
                    <a:pt x="378" y="441"/>
                  </a:lnTo>
                  <a:lnTo>
                    <a:pt x="357" y="449"/>
                  </a:lnTo>
                  <a:lnTo>
                    <a:pt x="335" y="453"/>
                  </a:lnTo>
                  <a:lnTo>
                    <a:pt x="86" y="453"/>
                  </a:lnTo>
                  <a:lnTo>
                    <a:pt x="63" y="449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10"/>
                  </a:lnTo>
                  <a:lnTo>
                    <a:pt x="3" y="390"/>
                  </a:lnTo>
                  <a:lnTo>
                    <a:pt x="0" y="367"/>
                  </a:lnTo>
                  <a:lnTo>
                    <a:pt x="0" y="95"/>
                  </a:lnTo>
                  <a:lnTo>
                    <a:pt x="3" y="72"/>
                  </a:lnTo>
                  <a:lnTo>
                    <a:pt x="12" y="52"/>
                  </a:lnTo>
                  <a:lnTo>
                    <a:pt x="26" y="33"/>
                  </a:lnTo>
                  <a:lnTo>
                    <a:pt x="43" y="21"/>
                  </a:lnTo>
                  <a:lnTo>
                    <a:pt x="63" y="12"/>
                  </a:lnTo>
                  <a:lnTo>
                    <a:pt x="86" y="9"/>
                  </a:lnTo>
                  <a:lnTo>
                    <a:pt x="335" y="9"/>
                  </a:lnTo>
                  <a:lnTo>
                    <a:pt x="356" y="11"/>
                  </a:lnTo>
                  <a:lnTo>
                    <a:pt x="375" y="19"/>
                  </a:lnTo>
                  <a:lnTo>
                    <a:pt x="391" y="30"/>
                  </a:lnTo>
                  <a:lnTo>
                    <a:pt x="405" y="45"/>
                  </a:lnTo>
                  <a:lnTo>
                    <a:pt x="415" y="63"/>
                  </a:lnTo>
                  <a:lnTo>
                    <a:pt x="452" y="20"/>
                  </a:lnTo>
                  <a:lnTo>
                    <a:pt x="465" y="8"/>
                  </a:lnTo>
                  <a:lnTo>
                    <a:pt x="480" y="2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Freeform 93"/>
            <p:cNvSpPr>
              <a:spLocks noEditPoints="1"/>
            </p:cNvSpPr>
            <p:nvPr/>
          </p:nvSpPr>
          <p:spPr bwMode="auto">
            <a:xfrm>
              <a:off x="-1041401" y="2859088"/>
              <a:ext cx="96838" cy="82550"/>
            </a:xfrm>
            <a:custGeom>
              <a:avLst/>
              <a:gdLst>
                <a:gd name="T0" fmla="*/ 75 w 546"/>
                <a:gd name="T1" fmla="*/ 80 h 465"/>
                <a:gd name="T2" fmla="*/ 60 w 546"/>
                <a:gd name="T3" fmla="*/ 96 h 465"/>
                <a:gd name="T4" fmla="*/ 58 w 546"/>
                <a:gd name="T5" fmla="*/ 379 h 465"/>
                <a:gd name="T6" fmla="*/ 66 w 546"/>
                <a:gd name="T7" fmla="*/ 399 h 465"/>
                <a:gd name="T8" fmla="*/ 86 w 546"/>
                <a:gd name="T9" fmla="*/ 407 h 465"/>
                <a:gd name="T10" fmla="*/ 345 w 546"/>
                <a:gd name="T11" fmla="*/ 405 h 465"/>
                <a:gd name="T12" fmla="*/ 361 w 546"/>
                <a:gd name="T13" fmla="*/ 390 h 465"/>
                <a:gd name="T14" fmla="*/ 363 w 546"/>
                <a:gd name="T15" fmla="*/ 289 h 465"/>
                <a:gd name="T16" fmla="*/ 292 w 546"/>
                <a:gd name="T17" fmla="*/ 370 h 465"/>
                <a:gd name="T18" fmla="*/ 265 w 546"/>
                <a:gd name="T19" fmla="*/ 380 h 465"/>
                <a:gd name="T20" fmla="*/ 249 w 546"/>
                <a:gd name="T21" fmla="*/ 378 h 465"/>
                <a:gd name="T22" fmla="*/ 225 w 546"/>
                <a:gd name="T23" fmla="*/ 366 h 465"/>
                <a:gd name="T24" fmla="*/ 91 w 546"/>
                <a:gd name="T25" fmla="*/ 237 h 465"/>
                <a:gd name="T26" fmla="*/ 84 w 546"/>
                <a:gd name="T27" fmla="*/ 205 h 465"/>
                <a:gd name="T28" fmla="*/ 98 w 546"/>
                <a:gd name="T29" fmla="*/ 176 h 465"/>
                <a:gd name="T30" fmla="*/ 127 w 546"/>
                <a:gd name="T31" fmla="*/ 160 h 465"/>
                <a:gd name="T32" fmla="*/ 159 w 546"/>
                <a:gd name="T33" fmla="*/ 164 h 465"/>
                <a:gd name="T34" fmla="*/ 218 w 546"/>
                <a:gd name="T35" fmla="*/ 214 h 465"/>
                <a:gd name="T36" fmla="*/ 248 w 546"/>
                <a:gd name="T37" fmla="*/ 228 h 465"/>
                <a:gd name="T38" fmla="*/ 279 w 546"/>
                <a:gd name="T39" fmla="*/ 220 h 465"/>
                <a:gd name="T40" fmla="*/ 363 w 546"/>
                <a:gd name="T41" fmla="*/ 123 h 465"/>
                <a:gd name="T42" fmla="*/ 361 w 546"/>
                <a:gd name="T43" fmla="*/ 96 h 465"/>
                <a:gd name="T44" fmla="*/ 345 w 546"/>
                <a:gd name="T45" fmla="*/ 80 h 465"/>
                <a:gd name="T46" fmla="*/ 86 w 546"/>
                <a:gd name="T47" fmla="*/ 78 h 465"/>
                <a:gd name="T48" fmla="*/ 513 w 546"/>
                <a:gd name="T49" fmla="*/ 3 h 465"/>
                <a:gd name="T50" fmla="*/ 539 w 546"/>
                <a:gd name="T51" fmla="*/ 25 h 465"/>
                <a:gd name="T52" fmla="*/ 546 w 546"/>
                <a:gd name="T53" fmla="*/ 55 h 465"/>
                <a:gd name="T54" fmla="*/ 533 w 546"/>
                <a:gd name="T55" fmla="*/ 86 h 465"/>
                <a:gd name="T56" fmla="*/ 421 w 546"/>
                <a:gd name="T57" fmla="*/ 379 h 465"/>
                <a:gd name="T58" fmla="*/ 409 w 546"/>
                <a:gd name="T59" fmla="*/ 422 h 465"/>
                <a:gd name="T60" fmla="*/ 378 w 546"/>
                <a:gd name="T61" fmla="*/ 453 h 465"/>
                <a:gd name="T62" fmla="*/ 335 w 546"/>
                <a:gd name="T63" fmla="*/ 465 h 465"/>
                <a:gd name="T64" fmla="*/ 63 w 546"/>
                <a:gd name="T65" fmla="*/ 462 h 465"/>
                <a:gd name="T66" fmla="*/ 26 w 546"/>
                <a:gd name="T67" fmla="*/ 439 h 465"/>
                <a:gd name="T68" fmla="*/ 3 w 546"/>
                <a:gd name="T69" fmla="*/ 402 h 465"/>
                <a:gd name="T70" fmla="*/ 0 w 546"/>
                <a:gd name="T71" fmla="*/ 106 h 465"/>
                <a:gd name="T72" fmla="*/ 12 w 546"/>
                <a:gd name="T73" fmla="*/ 63 h 465"/>
                <a:gd name="T74" fmla="*/ 43 w 546"/>
                <a:gd name="T75" fmla="*/ 32 h 465"/>
                <a:gd name="T76" fmla="*/ 86 w 546"/>
                <a:gd name="T77" fmla="*/ 20 h 465"/>
                <a:gd name="T78" fmla="*/ 354 w 546"/>
                <a:gd name="T79" fmla="*/ 22 h 465"/>
                <a:gd name="T80" fmla="*/ 387 w 546"/>
                <a:gd name="T81" fmla="*/ 39 h 465"/>
                <a:gd name="T82" fmla="*/ 410 w 546"/>
                <a:gd name="T83" fmla="*/ 67 h 465"/>
                <a:gd name="T84" fmla="*/ 465 w 546"/>
                <a:gd name="T85" fmla="*/ 7 h 465"/>
                <a:gd name="T86" fmla="*/ 497 w 546"/>
                <a:gd name="T8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65">
                  <a:moveTo>
                    <a:pt x="86" y="78"/>
                  </a:moveTo>
                  <a:lnTo>
                    <a:pt x="75" y="80"/>
                  </a:lnTo>
                  <a:lnTo>
                    <a:pt x="66" y="86"/>
                  </a:lnTo>
                  <a:lnTo>
                    <a:pt x="60" y="96"/>
                  </a:lnTo>
                  <a:lnTo>
                    <a:pt x="58" y="106"/>
                  </a:lnTo>
                  <a:lnTo>
                    <a:pt x="58" y="379"/>
                  </a:lnTo>
                  <a:lnTo>
                    <a:pt x="60" y="390"/>
                  </a:lnTo>
                  <a:lnTo>
                    <a:pt x="66" y="399"/>
                  </a:lnTo>
                  <a:lnTo>
                    <a:pt x="75" y="405"/>
                  </a:lnTo>
                  <a:lnTo>
                    <a:pt x="86" y="407"/>
                  </a:lnTo>
                  <a:lnTo>
                    <a:pt x="335" y="407"/>
                  </a:lnTo>
                  <a:lnTo>
                    <a:pt x="345" y="405"/>
                  </a:lnTo>
                  <a:lnTo>
                    <a:pt x="355" y="399"/>
                  </a:lnTo>
                  <a:lnTo>
                    <a:pt x="361" y="390"/>
                  </a:lnTo>
                  <a:lnTo>
                    <a:pt x="363" y="379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0"/>
                  </a:lnTo>
                  <a:lnTo>
                    <a:pt x="279" y="377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1"/>
                  </a:lnTo>
                  <a:lnTo>
                    <a:pt x="84" y="205"/>
                  </a:lnTo>
                  <a:lnTo>
                    <a:pt x="89" y="189"/>
                  </a:lnTo>
                  <a:lnTo>
                    <a:pt x="98" y="176"/>
                  </a:lnTo>
                  <a:lnTo>
                    <a:pt x="112" y="165"/>
                  </a:lnTo>
                  <a:lnTo>
                    <a:pt x="127" y="160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0"/>
                  </a:lnTo>
                  <a:lnTo>
                    <a:pt x="292" y="210"/>
                  </a:lnTo>
                  <a:lnTo>
                    <a:pt x="363" y="123"/>
                  </a:lnTo>
                  <a:lnTo>
                    <a:pt x="363" y="106"/>
                  </a:lnTo>
                  <a:lnTo>
                    <a:pt x="361" y="96"/>
                  </a:lnTo>
                  <a:lnTo>
                    <a:pt x="355" y="86"/>
                  </a:lnTo>
                  <a:lnTo>
                    <a:pt x="345" y="80"/>
                  </a:lnTo>
                  <a:lnTo>
                    <a:pt x="335" y="78"/>
                  </a:lnTo>
                  <a:lnTo>
                    <a:pt x="86" y="78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39"/>
                  </a:lnTo>
                  <a:lnTo>
                    <a:pt x="546" y="55"/>
                  </a:lnTo>
                  <a:lnTo>
                    <a:pt x="543" y="72"/>
                  </a:lnTo>
                  <a:lnTo>
                    <a:pt x="533" y="86"/>
                  </a:lnTo>
                  <a:lnTo>
                    <a:pt x="421" y="221"/>
                  </a:lnTo>
                  <a:lnTo>
                    <a:pt x="421" y="379"/>
                  </a:lnTo>
                  <a:lnTo>
                    <a:pt x="418" y="402"/>
                  </a:lnTo>
                  <a:lnTo>
                    <a:pt x="409" y="422"/>
                  </a:lnTo>
                  <a:lnTo>
                    <a:pt x="396" y="439"/>
                  </a:lnTo>
                  <a:lnTo>
                    <a:pt x="378" y="453"/>
                  </a:lnTo>
                  <a:lnTo>
                    <a:pt x="357" y="462"/>
                  </a:lnTo>
                  <a:lnTo>
                    <a:pt x="335" y="465"/>
                  </a:lnTo>
                  <a:lnTo>
                    <a:pt x="86" y="465"/>
                  </a:lnTo>
                  <a:lnTo>
                    <a:pt x="63" y="462"/>
                  </a:lnTo>
                  <a:lnTo>
                    <a:pt x="43" y="453"/>
                  </a:lnTo>
                  <a:lnTo>
                    <a:pt x="26" y="439"/>
                  </a:lnTo>
                  <a:lnTo>
                    <a:pt x="12" y="422"/>
                  </a:lnTo>
                  <a:lnTo>
                    <a:pt x="3" y="402"/>
                  </a:lnTo>
                  <a:lnTo>
                    <a:pt x="0" y="379"/>
                  </a:lnTo>
                  <a:lnTo>
                    <a:pt x="0" y="106"/>
                  </a:lnTo>
                  <a:lnTo>
                    <a:pt x="3" y="84"/>
                  </a:lnTo>
                  <a:lnTo>
                    <a:pt x="12" y="63"/>
                  </a:lnTo>
                  <a:lnTo>
                    <a:pt x="26" y="46"/>
                  </a:lnTo>
                  <a:lnTo>
                    <a:pt x="43" y="32"/>
                  </a:lnTo>
                  <a:lnTo>
                    <a:pt x="63" y="23"/>
                  </a:lnTo>
                  <a:lnTo>
                    <a:pt x="86" y="20"/>
                  </a:lnTo>
                  <a:lnTo>
                    <a:pt x="335" y="20"/>
                  </a:lnTo>
                  <a:lnTo>
                    <a:pt x="354" y="22"/>
                  </a:lnTo>
                  <a:lnTo>
                    <a:pt x="372" y="29"/>
                  </a:lnTo>
                  <a:lnTo>
                    <a:pt x="387" y="39"/>
                  </a:lnTo>
                  <a:lnTo>
                    <a:pt x="401" y="52"/>
                  </a:lnTo>
                  <a:lnTo>
                    <a:pt x="410" y="67"/>
                  </a:lnTo>
                  <a:lnTo>
                    <a:pt x="452" y="18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94"/>
            <p:cNvSpPr>
              <a:spLocks noEditPoints="1"/>
            </p:cNvSpPr>
            <p:nvPr/>
          </p:nvSpPr>
          <p:spPr bwMode="auto">
            <a:xfrm>
              <a:off x="-1041401" y="2962275"/>
              <a:ext cx="96838" cy="82550"/>
            </a:xfrm>
            <a:custGeom>
              <a:avLst/>
              <a:gdLst>
                <a:gd name="T0" fmla="*/ 75 w 546"/>
                <a:gd name="T1" fmla="*/ 85 h 470"/>
                <a:gd name="T2" fmla="*/ 60 w 546"/>
                <a:gd name="T3" fmla="*/ 101 h 470"/>
                <a:gd name="T4" fmla="*/ 58 w 546"/>
                <a:gd name="T5" fmla="*/ 384 h 470"/>
                <a:gd name="T6" fmla="*/ 66 w 546"/>
                <a:gd name="T7" fmla="*/ 404 h 470"/>
                <a:gd name="T8" fmla="*/ 86 w 546"/>
                <a:gd name="T9" fmla="*/ 412 h 470"/>
                <a:gd name="T10" fmla="*/ 345 w 546"/>
                <a:gd name="T11" fmla="*/ 410 h 470"/>
                <a:gd name="T12" fmla="*/ 361 w 546"/>
                <a:gd name="T13" fmla="*/ 395 h 470"/>
                <a:gd name="T14" fmla="*/ 363 w 546"/>
                <a:gd name="T15" fmla="*/ 289 h 470"/>
                <a:gd name="T16" fmla="*/ 292 w 546"/>
                <a:gd name="T17" fmla="*/ 371 h 470"/>
                <a:gd name="T18" fmla="*/ 265 w 546"/>
                <a:gd name="T19" fmla="*/ 379 h 470"/>
                <a:gd name="T20" fmla="*/ 262 w 546"/>
                <a:gd name="T21" fmla="*/ 381 h 470"/>
                <a:gd name="T22" fmla="*/ 236 w 546"/>
                <a:gd name="T23" fmla="*/ 373 h 470"/>
                <a:gd name="T24" fmla="*/ 101 w 546"/>
                <a:gd name="T25" fmla="*/ 251 h 470"/>
                <a:gd name="T26" fmla="*/ 85 w 546"/>
                <a:gd name="T27" fmla="*/ 222 h 470"/>
                <a:gd name="T28" fmla="*/ 89 w 546"/>
                <a:gd name="T29" fmla="*/ 190 h 470"/>
                <a:gd name="T30" fmla="*/ 112 w 546"/>
                <a:gd name="T31" fmla="*/ 166 h 470"/>
                <a:gd name="T32" fmla="*/ 143 w 546"/>
                <a:gd name="T33" fmla="*/ 159 h 470"/>
                <a:gd name="T34" fmla="*/ 173 w 546"/>
                <a:gd name="T35" fmla="*/ 173 h 470"/>
                <a:gd name="T36" fmla="*/ 232 w 546"/>
                <a:gd name="T37" fmla="*/ 223 h 470"/>
                <a:gd name="T38" fmla="*/ 264 w 546"/>
                <a:gd name="T39" fmla="*/ 226 h 470"/>
                <a:gd name="T40" fmla="*/ 292 w 546"/>
                <a:gd name="T41" fmla="*/ 209 h 470"/>
                <a:gd name="T42" fmla="*/ 363 w 546"/>
                <a:gd name="T43" fmla="*/ 111 h 470"/>
                <a:gd name="T44" fmla="*/ 355 w 546"/>
                <a:gd name="T45" fmla="*/ 91 h 470"/>
                <a:gd name="T46" fmla="*/ 335 w 546"/>
                <a:gd name="T47" fmla="*/ 83 h 470"/>
                <a:gd name="T48" fmla="*/ 497 w 546"/>
                <a:gd name="T49" fmla="*/ 0 h 470"/>
                <a:gd name="T50" fmla="*/ 527 w 546"/>
                <a:gd name="T51" fmla="*/ 11 h 470"/>
                <a:gd name="T52" fmla="*/ 545 w 546"/>
                <a:gd name="T53" fmla="*/ 40 h 470"/>
                <a:gd name="T54" fmla="*/ 543 w 546"/>
                <a:gd name="T55" fmla="*/ 72 h 470"/>
                <a:gd name="T56" fmla="*/ 421 w 546"/>
                <a:gd name="T57" fmla="*/ 221 h 470"/>
                <a:gd name="T58" fmla="*/ 418 w 546"/>
                <a:gd name="T59" fmla="*/ 406 h 470"/>
                <a:gd name="T60" fmla="*/ 396 w 546"/>
                <a:gd name="T61" fmla="*/ 444 h 470"/>
                <a:gd name="T62" fmla="*/ 357 w 546"/>
                <a:gd name="T63" fmla="*/ 467 h 470"/>
                <a:gd name="T64" fmla="*/ 86 w 546"/>
                <a:gd name="T65" fmla="*/ 470 h 470"/>
                <a:gd name="T66" fmla="*/ 43 w 546"/>
                <a:gd name="T67" fmla="*/ 458 h 470"/>
                <a:gd name="T68" fmla="*/ 12 w 546"/>
                <a:gd name="T69" fmla="*/ 427 h 470"/>
                <a:gd name="T70" fmla="*/ 0 w 546"/>
                <a:gd name="T71" fmla="*/ 384 h 470"/>
                <a:gd name="T72" fmla="*/ 3 w 546"/>
                <a:gd name="T73" fmla="*/ 89 h 470"/>
                <a:gd name="T74" fmla="*/ 26 w 546"/>
                <a:gd name="T75" fmla="*/ 51 h 470"/>
                <a:gd name="T76" fmla="*/ 63 w 546"/>
                <a:gd name="T77" fmla="*/ 28 h 470"/>
                <a:gd name="T78" fmla="*/ 335 w 546"/>
                <a:gd name="T79" fmla="*/ 25 h 470"/>
                <a:gd name="T80" fmla="*/ 378 w 546"/>
                <a:gd name="T81" fmla="*/ 38 h 470"/>
                <a:gd name="T82" fmla="*/ 409 w 546"/>
                <a:gd name="T83" fmla="*/ 70 h 470"/>
                <a:gd name="T84" fmla="*/ 465 w 546"/>
                <a:gd name="T85" fmla="*/ 7 h 470"/>
                <a:gd name="T86" fmla="*/ 497 w 546"/>
                <a:gd name="T8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70">
                  <a:moveTo>
                    <a:pt x="86" y="83"/>
                  </a:moveTo>
                  <a:lnTo>
                    <a:pt x="75" y="85"/>
                  </a:lnTo>
                  <a:lnTo>
                    <a:pt x="66" y="91"/>
                  </a:lnTo>
                  <a:lnTo>
                    <a:pt x="60" y="101"/>
                  </a:lnTo>
                  <a:lnTo>
                    <a:pt x="58" y="111"/>
                  </a:lnTo>
                  <a:lnTo>
                    <a:pt x="58" y="384"/>
                  </a:lnTo>
                  <a:lnTo>
                    <a:pt x="60" y="395"/>
                  </a:lnTo>
                  <a:lnTo>
                    <a:pt x="66" y="404"/>
                  </a:lnTo>
                  <a:lnTo>
                    <a:pt x="75" y="410"/>
                  </a:lnTo>
                  <a:lnTo>
                    <a:pt x="86" y="412"/>
                  </a:lnTo>
                  <a:lnTo>
                    <a:pt x="335" y="412"/>
                  </a:lnTo>
                  <a:lnTo>
                    <a:pt x="345" y="410"/>
                  </a:lnTo>
                  <a:lnTo>
                    <a:pt x="355" y="404"/>
                  </a:lnTo>
                  <a:lnTo>
                    <a:pt x="361" y="395"/>
                  </a:lnTo>
                  <a:lnTo>
                    <a:pt x="363" y="384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1"/>
                  </a:lnTo>
                  <a:lnTo>
                    <a:pt x="279" y="377"/>
                  </a:lnTo>
                  <a:lnTo>
                    <a:pt x="265" y="379"/>
                  </a:lnTo>
                  <a:lnTo>
                    <a:pt x="264" y="379"/>
                  </a:lnTo>
                  <a:lnTo>
                    <a:pt x="262" y="381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2"/>
                  </a:lnTo>
                  <a:lnTo>
                    <a:pt x="84" y="206"/>
                  </a:lnTo>
                  <a:lnTo>
                    <a:pt x="89" y="190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59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7"/>
                  </a:lnTo>
                  <a:lnTo>
                    <a:pt x="264" y="226"/>
                  </a:lnTo>
                  <a:lnTo>
                    <a:pt x="279" y="220"/>
                  </a:lnTo>
                  <a:lnTo>
                    <a:pt x="292" y="209"/>
                  </a:lnTo>
                  <a:lnTo>
                    <a:pt x="363" y="124"/>
                  </a:lnTo>
                  <a:lnTo>
                    <a:pt x="363" y="111"/>
                  </a:lnTo>
                  <a:lnTo>
                    <a:pt x="361" y="101"/>
                  </a:lnTo>
                  <a:lnTo>
                    <a:pt x="355" y="91"/>
                  </a:lnTo>
                  <a:lnTo>
                    <a:pt x="345" y="85"/>
                  </a:lnTo>
                  <a:lnTo>
                    <a:pt x="335" y="83"/>
                  </a:lnTo>
                  <a:lnTo>
                    <a:pt x="86" y="83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1"/>
                  </a:lnTo>
                  <a:lnTo>
                    <a:pt x="539" y="24"/>
                  </a:lnTo>
                  <a:lnTo>
                    <a:pt x="545" y="40"/>
                  </a:lnTo>
                  <a:lnTo>
                    <a:pt x="546" y="56"/>
                  </a:lnTo>
                  <a:lnTo>
                    <a:pt x="543" y="72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84"/>
                  </a:lnTo>
                  <a:lnTo>
                    <a:pt x="418" y="406"/>
                  </a:lnTo>
                  <a:lnTo>
                    <a:pt x="409" y="427"/>
                  </a:lnTo>
                  <a:lnTo>
                    <a:pt x="396" y="444"/>
                  </a:lnTo>
                  <a:lnTo>
                    <a:pt x="378" y="458"/>
                  </a:lnTo>
                  <a:lnTo>
                    <a:pt x="357" y="467"/>
                  </a:lnTo>
                  <a:lnTo>
                    <a:pt x="335" y="470"/>
                  </a:lnTo>
                  <a:lnTo>
                    <a:pt x="86" y="470"/>
                  </a:lnTo>
                  <a:lnTo>
                    <a:pt x="63" y="467"/>
                  </a:lnTo>
                  <a:lnTo>
                    <a:pt x="43" y="458"/>
                  </a:lnTo>
                  <a:lnTo>
                    <a:pt x="26" y="444"/>
                  </a:lnTo>
                  <a:lnTo>
                    <a:pt x="12" y="427"/>
                  </a:lnTo>
                  <a:lnTo>
                    <a:pt x="3" y="406"/>
                  </a:lnTo>
                  <a:lnTo>
                    <a:pt x="0" y="384"/>
                  </a:lnTo>
                  <a:lnTo>
                    <a:pt x="0" y="111"/>
                  </a:lnTo>
                  <a:lnTo>
                    <a:pt x="3" y="89"/>
                  </a:lnTo>
                  <a:lnTo>
                    <a:pt x="12" y="68"/>
                  </a:lnTo>
                  <a:lnTo>
                    <a:pt x="26" y="51"/>
                  </a:lnTo>
                  <a:lnTo>
                    <a:pt x="43" y="37"/>
                  </a:lnTo>
                  <a:lnTo>
                    <a:pt x="63" y="28"/>
                  </a:lnTo>
                  <a:lnTo>
                    <a:pt x="86" y="25"/>
                  </a:lnTo>
                  <a:lnTo>
                    <a:pt x="335" y="25"/>
                  </a:lnTo>
                  <a:lnTo>
                    <a:pt x="358" y="28"/>
                  </a:lnTo>
                  <a:lnTo>
                    <a:pt x="378" y="38"/>
                  </a:lnTo>
                  <a:lnTo>
                    <a:pt x="396" y="52"/>
                  </a:lnTo>
                  <a:lnTo>
                    <a:pt x="409" y="70"/>
                  </a:lnTo>
                  <a:lnTo>
                    <a:pt x="452" y="19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5" name="Freeform 95"/>
            <p:cNvSpPr>
              <a:spLocks/>
            </p:cNvSpPr>
            <p:nvPr/>
          </p:nvSpPr>
          <p:spPr bwMode="auto">
            <a:xfrm>
              <a:off x="-919163" y="2792413"/>
              <a:ext cx="169863" cy="17463"/>
            </a:xfrm>
            <a:custGeom>
              <a:avLst/>
              <a:gdLst>
                <a:gd name="T0" fmla="*/ 53 w 969"/>
                <a:gd name="T1" fmla="*/ 0 h 106"/>
                <a:gd name="T2" fmla="*/ 916 w 969"/>
                <a:gd name="T3" fmla="*/ 0 h 106"/>
                <a:gd name="T4" fmla="*/ 933 w 969"/>
                <a:gd name="T5" fmla="*/ 3 h 106"/>
                <a:gd name="T6" fmla="*/ 947 w 969"/>
                <a:gd name="T7" fmla="*/ 11 h 106"/>
                <a:gd name="T8" fmla="*/ 959 w 969"/>
                <a:gd name="T9" fmla="*/ 22 h 106"/>
                <a:gd name="T10" fmla="*/ 966 w 969"/>
                <a:gd name="T11" fmla="*/ 37 h 106"/>
                <a:gd name="T12" fmla="*/ 969 w 969"/>
                <a:gd name="T13" fmla="*/ 54 h 106"/>
                <a:gd name="T14" fmla="*/ 966 w 969"/>
                <a:gd name="T15" fmla="*/ 70 h 106"/>
                <a:gd name="T16" fmla="*/ 959 w 969"/>
                <a:gd name="T17" fmla="*/ 85 h 106"/>
                <a:gd name="T18" fmla="*/ 947 w 969"/>
                <a:gd name="T19" fmla="*/ 97 h 106"/>
                <a:gd name="T20" fmla="*/ 933 w 969"/>
                <a:gd name="T21" fmla="*/ 104 h 106"/>
                <a:gd name="T22" fmla="*/ 916 w 969"/>
                <a:gd name="T23" fmla="*/ 106 h 106"/>
                <a:gd name="T24" fmla="*/ 53 w 969"/>
                <a:gd name="T25" fmla="*/ 106 h 106"/>
                <a:gd name="T26" fmla="*/ 36 w 969"/>
                <a:gd name="T27" fmla="*/ 104 h 106"/>
                <a:gd name="T28" fmla="*/ 22 w 969"/>
                <a:gd name="T29" fmla="*/ 97 h 106"/>
                <a:gd name="T30" fmla="*/ 10 w 969"/>
                <a:gd name="T31" fmla="*/ 85 h 106"/>
                <a:gd name="T32" fmla="*/ 3 w 969"/>
                <a:gd name="T33" fmla="*/ 70 h 106"/>
                <a:gd name="T34" fmla="*/ 0 w 969"/>
                <a:gd name="T35" fmla="*/ 54 h 106"/>
                <a:gd name="T36" fmla="*/ 3 w 969"/>
                <a:gd name="T37" fmla="*/ 37 h 106"/>
                <a:gd name="T38" fmla="*/ 10 w 969"/>
                <a:gd name="T39" fmla="*/ 22 h 106"/>
                <a:gd name="T40" fmla="*/ 22 w 969"/>
                <a:gd name="T41" fmla="*/ 11 h 106"/>
                <a:gd name="T42" fmla="*/ 36 w 969"/>
                <a:gd name="T43" fmla="*/ 3 h 106"/>
                <a:gd name="T44" fmla="*/ 53 w 969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6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2"/>
                  </a:lnTo>
                  <a:lnTo>
                    <a:pt x="966" y="37"/>
                  </a:lnTo>
                  <a:lnTo>
                    <a:pt x="969" y="54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7"/>
                  </a:lnTo>
                  <a:lnTo>
                    <a:pt x="933" y="104"/>
                  </a:lnTo>
                  <a:lnTo>
                    <a:pt x="916" y="106"/>
                  </a:lnTo>
                  <a:lnTo>
                    <a:pt x="53" y="106"/>
                  </a:lnTo>
                  <a:lnTo>
                    <a:pt x="36" y="104"/>
                  </a:lnTo>
                  <a:lnTo>
                    <a:pt x="22" y="97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4"/>
                  </a:lnTo>
                  <a:lnTo>
                    <a:pt x="3" y="37"/>
                  </a:lnTo>
                  <a:lnTo>
                    <a:pt x="10" y="22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6" name="Freeform 96"/>
            <p:cNvSpPr>
              <a:spLocks/>
            </p:cNvSpPr>
            <p:nvPr/>
          </p:nvSpPr>
          <p:spPr bwMode="auto">
            <a:xfrm>
              <a:off x="-919163" y="2882900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3 h 107"/>
                <a:gd name="T6" fmla="*/ 947 w 969"/>
                <a:gd name="T7" fmla="*/ 11 h 107"/>
                <a:gd name="T8" fmla="*/ 959 w 969"/>
                <a:gd name="T9" fmla="*/ 23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0 h 107"/>
                <a:gd name="T16" fmla="*/ 959 w 969"/>
                <a:gd name="T17" fmla="*/ 85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5 h 107"/>
                <a:gd name="T32" fmla="*/ 3 w 969"/>
                <a:gd name="T33" fmla="*/ 70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3 h 107"/>
                <a:gd name="T40" fmla="*/ 22 w 969"/>
                <a:gd name="T41" fmla="*/ 11 h 107"/>
                <a:gd name="T42" fmla="*/ 36 w 969"/>
                <a:gd name="T43" fmla="*/ 3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3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97"/>
            <p:cNvSpPr>
              <a:spLocks/>
            </p:cNvSpPr>
            <p:nvPr/>
          </p:nvSpPr>
          <p:spPr bwMode="auto">
            <a:xfrm>
              <a:off x="-919163" y="2974975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2 h 107"/>
                <a:gd name="T6" fmla="*/ 947 w 969"/>
                <a:gd name="T7" fmla="*/ 10 h 107"/>
                <a:gd name="T8" fmla="*/ 959 w 969"/>
                <a:gd name="T9" fmla="*/ 22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1 h 107"/>
                <a:gd name="T16" fmla="*/ 959 w 969"/>
                <a:gd name="T17" fmla="*/ 84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4 h 107"/>
                <a:gd name="T32" fmla="*/ 3 w 969"/>
                <a:gd name="T33" fmla="*/ 71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2 h 107"/>
                <a:gd name="T40" fmla="*/ 22 w 969"/>
                <a:gd name="T41" fmla="*/ 10 h 107"/>
                <a:gd name="T42" fmla="*/ 36 w 969"/>
                <a:gd name="T43" fmla="*/ 2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2"/>
                  </a:lnTo>
                  <a:lnTo>
                    <a:pt x="947" y="10"/>
                  </a:lnTo>
                  <a:lnTo>
                    <a:pt x="959" y="22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1"/>
                  </a:lnTo>
                  <a:lnTo>
                    <a:pt x="959" y="84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4"/>
                  </a:lnTo>
                  <a:lnTo>
                    <a:pt x="3" y="71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2"/>
                  </a:lnTo>
                  <a:lnTo>
                    <a:pt x="22" y="10"/>
                  </a:lnTo>
                  <a:lnTo>
                    <a:pt x="36" y="2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08" name="Freeform 6"/>
          <p:cNvSpPr>
            <a:spLocks noEditPoints="1"/>
          </p:cNvSpPr>
          <p:nvPr/>
        </p:nvSpPr>
        <p:spPr bwMode="auto">
          <a:xfrm>
            <a:off x="5426571" y="4178180"/>
            <a:ext cx="345210" cy="306557"/>
          </a:xfrm>
          <a:custGeom>
            <a:avLst/>
            <a:gdLst>
              <a:gd name="T0" fmla="*/ 962 w 3885"/>
              <a:gd name="T1" fmla="*/ 1043 h 3449"/>
              <a:gd name="T2" fmla="*/ 877 w 3885"/>
              <a:gd name="T3" fmla="*/ 1146 h 3449"/>
              <a:gd name="T4" fmla="*/ 877 w 3885"/>
              <a:gd name="T5" fmla="*/ 1284 h 3449"/>
              <a:gd name="T6" fmla="*/ 962 w 3885"/>
              <a:gd name="T7" fmla="*/ 1385 h 3449"/>
              <a:gd name="T8" fmla="*/ 1097 w 3885"/>
              <a:gd name="T9" fmla="*/ 1410 h 3449"/>
              <a:gd name="T10" fmla="*/ 1214 w 3885"/>
              <a:gd name="T11" fmla="*/ 1342 h 3449"/>
              <a:gd name="T12" fmla="*/ 1260 w 3885"/>
              <a:gd name="T13" fmla="*/ 1214 h 3449"/>
              <a:gd name="T14" fmla="*/ 1214 w 3885"/>
              <a:gd name="T15" fmla="*/ 1087 h 3449"/>
              <a:gd name="T16" fmla="*/ 1097 w 3885"/>
              <a:gd name="T17" fmla="*/ 1020 h 3449"/>
              <a:gd name="T18" fmla="*/ 1032 w 3885"/>
              <a:gd name="T19" fmla="*/ 7 h 3449"/>
              <a:gd name="T20" fmla="*/ 1339 w 3885"/>
              <a:gd name="T21" fmla="*/ 62 h 3449"/>
              <a:gd name="T22" fmla="*/ 1644 w 3885"/>
              <a:gd name="T23" fmla="*/ 144 h 3449"/>
              <a:gd name="T24" fmla="*/ 1793 w 3885"/>
              <a:gd name="T25" fmla="*/ 267 h 3449"/>
              <a:gd name="T26" fmla="*/ 1871 w 3885"/>
              <a:gd name="T27" fmla="*/ 403 h 3449"/>
              <a:gd name="T28" fmla="*/ 1757 w 3885"/>
              <a:gd name="T29" fmla="*/ 431 h 3449"/>
              <a:gd name="T30" fmla="*/ 1716 w 3885"/>
              <a:gd name="T31" fmla="*/ 510 h 3449"/>
              <a:gd name="T32" fmla="*/ 1742 w 3885"/>
              <a:gd name="T33" fmla="*/ 578 h 3449"/>
              <a:gd name="T34" fmla="*/ 1830 w 3885"/>
              <a:gd name="T35" fmla="*/ 609 h 3449"/>
              <a:gd name="T36" fmla="*/ 2066 w 3885"/>
              <a:gd name="T37" fmla="*/ 588 h 3449"/>
              <a:gd name="T38" fmla="*/ 2391 w 3885"/>
              <a:gd name="T39" fmla="*/ 610 h 3449"/>
              <a:gd name="T40" fmla="*/ 2746 w 3885"/>
              <a:gd name="T41" fmla="*/ 717 h 3449"/>
              <a:gd name="T42" fmla="*/ 2839 w 3885"/>
              <a:gd name="T43" fmla="*/ 712 h 3449"/>
              <a:gd name="T44" fmla="*/ 2886 w 3885"/>
              <a:gd name="T45" fmla="*/ 633 h 3449"/>
              <a:gd name="T46" fmla="*/ 2850 w 3885"/>
              <a:gd name="T47" fmla="*/ 551 h 3449"/>
              <a:gd name="T48" fmla="*/ 2719 w 3885"/>
              <a:gd name="T49" fmla="*/ 443 h 3449"/>
              <a:gd name="T50" fmla="*/ 2873 w 3885"/>
              <a:gd name="T51" fmla="*/ 297 h 3449"/>
              <a:gd name="T52" fmla="*/ 3177 w 3885"/>
              <a:gd name="T53" fmla="*/ 403 h 3449"/>
              <a:gd name="T54" fmla="*/ 3496 w 3885"/>
              <a:gd name="T55" fmla="*/ 663 h 3449"/>
              <a:gd name="T56" fmla="*/ 3720 w 3885"/>
              <a:gd name="T57" fmla="*/ 975 h 3449"/>
              <a:gd name="T58" fmla="*/ 3851 w 3885"/>
              <a:gd name="T59" fmla="*/ 1333 h 3449"/>
              <a:gd name="T60" fmla="*/ 3884 w 3885"/>
              <a:gd name="T61" fmla="*/ 1707 h 3449"/>
              <a:gd name="T62" fmla="*/ 3816 w 3885"/>
              <a:gd name="T63" fmla="*/ 2077 h 3449"/>
              <a:gd name="T64" fmla="*/ 3539 w 3885"/>
              <a:gd name="T65" fmla="*/ 2689 h 3449"/>
              <a:gd name="T66" fmla="*/ 3177 w 3885"/>
              <a:gd name="T67" fmla="*/ 3367 h 3449"/>
              <a:gd name="T68" fmla="*/ 3097 w 3885"/>
              <a:gd name="T69" fmla="*/ 3439 h 3449"/>
              <a:gd name="T70" fmla="*/ 2617 w 3885"/>
              <a:gd name="T71" fmla="*/ 3445 h 3449"/>
              <a:gd name="T72" fmla="*/ 2521 w 3885"/>
              <a:gd name="T73" fmla="*/ 3381 h 3449"/>
              <a:gd name="T74" fmla="*/ 2494 w 3885"/>
              <a:gd name="T75" fmla="*/ 3107 h 3449"/>
              <a:gd name="T76" fmla="*/ 2087 w 3885"/>
              <a:gd name="T77" fmla="*/ 3144 h 3449"/>
              <a:gd name="T78" fmla="*/ 1727 w 3885"/>
              <a:gd name="T79" fmla="*/ 3356 h 3449"/>
              <a:gd name="T80" fmla="*/ 1644 w 3885"/>
              <a:gd name="T81" fmla="*/ 3436 h 3449"/>
              <a:gd name="T82" fmla="*/ 1161 w 3885"/>
              <a:gd name="T83" fmla="*/ 3445 h 3449"/>
              <a:gd name="T84" fmla="*/ 1064 w 3885"/>
              <a:gd name="T85" fmla="*/ 3381 h 3449"/>
              <a:gd name="T86" fmla="*/ 1037 w 3885"/>
              <a:gd name="T87" fmla="*/ 2862 h 3449"/>
              <a:gd name="T88" fmla="*/ 719 w 3885"/>
              <a:gd name="T89" fmla="*/ 2620 h 3449"/>
              <a:gd name="T90" fmla="*/ 476 w 3885"/>
              <a:gd name="T91" fmla="*/ 2322 h 3449"/>
              <a:gd name="T92" fmla="*/ 70 w 3885"/>
              <a:gd name="T93" fmla="*/ 1919 h 3449"/>
              <a:gd name="T94" fmla="*/ 3 w 3885"/>
              <a:gd name="T95" fmla="*/ 1831 h 3449"/>
              <a:gd name="T96" fmla="*/ 13 w 3885"/>
              <a:gd name="T97" fmla="*/ 1256 h 3449"/>
              <a:gd name="T98" fmla="*/ 101 w 3885"/>
              <a:gd name="T99" fmla="*/ 1186 h 3449"/>
              <a:gd name="T100" fmla="*/ 425 w 3885"/>
              <a:gd name="T101" fmla="*/ 1012 h 3449"/>
              <a:gd name="T102" fmla="*/ 642 w 3885"/>
              <a:gd name="T103" fmla="*/ 701 h 3449"/>
              <a:gd name="T104" fmla="*/ 594 w 3885"/>
              <a:gd name="T105" fmla="*/ 171 h 3449"/>
              <a:gd name="T106" fmla="*/ 614 w 3885"/>
              <a:gd name="T107" fmla="*/ 65 h 3449"/>
              <a:gd name="T108" fmla="*/ 709 w 3885"/>
              <a:gd name="T109" fmla="*/ 10 h 3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885" h="3449">
                <a:moveTo>
                  <a:pt x="1063" y="1017"/>
                </a:moveTo>
                <a:lnTo>
                  <a:pt x="1027" y="1020"/>
                </a:lnTo>
                <a:lnTo>
                  <a:pt x="993" y="1030"/>
                </a:lnTo>
                <a:lnTo>
                  <a:pt x="962" y="1043"/>
                </a:lnTo>
                <a:lnTo>
                  <a:pt x="935" y="1063"/>
                </a:lnTo>
                <a:lnTo>
                  <a:pt x="910" y="1087"/>
                </a:lnTo>
                <a:lnTo>
                  <a:pt x="891" y="1115"/>
                </a:lnTo>
                <a:lnTo>
                  <a:pt x="877" y="1146"/>
                </a:lnTo>
                <a:lnTo>
                  <a:pt x="868" y="1180"/>
                </a:lnTo>
                <a:lnTo>
                  <a:pt x="864" y="1214"/>
                </a:lnTo>
                <a:lnTo>
                  <a:pt x="868" y="1250"/>
                </a:lnTo>
                <a:lnTo>
                  <a:pt x="877" y="1284"/>
                </a:lnTo>
                <a:lnTo>
                  <a:pt x="891" y="1315"/>
                </a:lnTo>
                <a:lnTo>
                  <a:pt x="910" y="1342"/>
                </a:lnTo>
                <a:lnTo>
                  <a:pt x="935" y="1367"/>
                </a:lnTo>
                <a:lnTo>
                  <a:pt x="962" y="1385"/>
                </a:lnTo>
                <a:lnTo>
                  <a:pt x="993" y="1400"/>
                </a:lnTo>
                <a:lnTo>
                  <a:pt x="1027" y="1410"/>
                </a:lnTo>
                <a:lnTo>
                  <a:pt x="1063" y="1413"/>
                </a:lnTo>
                <a:lnTo>
                  <a:pt x="1097" y="1410"/>
                </a:lnTo>
                <a:lnTo>
                  <a:pt x="1131" y="1400"/>
                </a:lnTo>
                <a:lnTo>
                  <a:pt x="1162" y="1385"/>
                </a:lnTo>
                <a:lnTo>
                  <a:pt x="1190" y="1367"/>
                </a:lnTo>
                <a:lnTo>
                  <a:pt x="1214" y="1342"/>
                </a:lnTo>
                <a:lnTo>
                  <a:pt x="1234" y="1315"/>
                </a:lnTo>
                <a:lnTo>
                  <a:pt x="1247" y="1284"/>
                </a:lnTo>
                <a:lnTo>
                  <a:pt x="1257" y="1250"/>
                </a:lnTo>
                <a:lnTo>
                  <a:pt x="1260" y="1214"/>
                </a:lnTo>
                <a:lnTo>
                  <a:pt x="1257" y="1180"/>
                </a:lnTo>
                <a:lnTo>
                  <a:pt x="1247" y="1146"/>
                </a:lnTo>
                <a:lnTo>
                  <a:pt x="1234" y="1115"/>
                </a:lnTo>
                <a:lnTo>
                  <a:pt x="1214" y="1087"/>
                </a:lnTo>
                <a:lnTo>
                  <a:pt x="1190" y="1063"/>
                </a:lnTo>
                <a:lnTo>
                  <a:pt x="1162" y="1043"/>
                </a:lnTo>
                <a:lnTo>
                  <a:pt x="1131" y="1030"/>
                </a:lnTo>
                <a:lnTo>
                  <a:pt x="1097" y="1020"/>
                </a:lnTo>
                <a:lnTo>
                  <a:pt x="1063" y="1017"/>
                </a:lnTo>
                <a:close/>
                <a:moveTo>
                  <a:pt x="890" y="0"/>
                </a:moveTo>
                <a:lnTo>
                  <a:pt x="960" y="2"/>
                </a:lnTo>
                <a:lnTo>
                  <a:pt x="1032" y="7"/>
                </a:lnTo>
                <a:lnTo>
                  <a:pt x="1106" y="14"/>
                </a:lnTo>
                <a:lnTo>
                  <a:pt x="1183" y="25"/>
                </a:lnTo>
                <a:lnTo>
                  <a:pt x="1261" y="41"/>
                </a:lnTo>
                <a:lnTo>
                  <a:pt x="1339" y="62"/>
                </a:lnTo>
                <a:lnTo>
                  <a:pt x="1416" y="90"/>
                </a:lnTo>
                <a:lnTo>
                  <a:pt x="1493" y="122"/>
                </a:lnTo>
                <a:lnTo>
                  <a:pt x="1567" y="162"/>
                </a:lnTo>
                <a:lnTo>
                  <a:pt x="1644" y="144"/>
                </a:lnTo>
                <a:lnTo>
                  <a:pt x="1722" y="129"/>
                </a:lnTo>
                <a:lnTo>
                  <a:pt x="1732" y="154"/>
                </a:lnTo>
                <a:lnTo>
                  <a:pt x="1761" y="212"/>
                </a:lnTo>
                <a:lnTo>
                  <a:pt x="1793" y="267"/>
                </a:lnTo>
                <a:lnTo>
                  <a:pt x="1832" y="318"/>
                </a:lnTo>
                <a:lnTo>
                  <a:pt x="1875" y="365"/>
                </a:lnTo>
                <a:lnTo>
                  <a:pt x="1912" y="400"/>
                </a:lnTo>
                <a:lnTo>
                  <a:pt x="1871" y="403"/>
                </a:lnTo>
                <a:lnTo>
                  <a:pt x="1834" y="408"/>
                </a:lnTo>
                <a:lnTo>
                  <a:pt x="1801" y="413"/>
                </a:lnTo>
                <a:lnTo>
                  <a:pt x="1777" y="419"/>
                </a:lnTo>
                <a:lnTo>
                  <a:pt x="1757" y="431"/>
                </a:lnTo>
                <a:lnTo>
                  <a:pt x="1740" y="447"/>
                </a:lnTo>
                <a:lnTo>
                  <a:pt x="1727" y="465"/>
                </a:lnTo>
                <a:lnTo>
                  <a:pt x="1720" y="486"/>
                </a:lnTo>
                <a:lnTo>
                  <a:pt x="1716" y="510"/>
                </a:lnTo>
                <a:lnTo>
                  <a:pt x="1719" y="534"/>
                </a:lnTo>
                <a:lnTo>
                  <a:pt x="1719" y="535"/>
                </a:lnTo>
                <a:lnTo>
                  <a:pt x="1729" y="558"/>
                </a:lnTo>
                <a:lnTo>
                  <a:pt x="1742" y="578"/>
                </a:lnTo>
                <a:lnTo>
                  <a:pt x="1760" y="593"/>
                </a:lnTo>
                <a:lnTo>
                  <a:pt x="1782" y="604"/>
                </a:lnTo>
                <a:lnTo>
                  <a:pt x="1805" y="609"/>
                </a:lnTo>
                <a:lnTo>
                  <a:pt x="1830" y="609"/>
                </a:lnTo>
                <a:lnTo>
                  <a:pt x="1877" y="603"/>
                </a:lnTo>
                <a:lnTo>
                  <a:pt x="1933" y="597"/>
                </a:lnTo>
                <a:lnTo>
                  <a:pt x="1996" y="592"/>
                </a:lnTo>
                <a:lnTo>
                  <a:pt x="2066" y="588"/>
                </a:lnTo>
                <a:lnTo>
                  <a:pt x="2140" y="588"/>
                </a:lnTo>
                <a:lnTo>
                  <a:pt x="2221" y="592"/>
                </a:lnTo>
                <a:lnTo>
                  <a:pt x="2304" y="598"/>
                </a:lnTo>
                <a:lnTo>
                  <a:pt x="2391" y="610"/>
                </a:lnTo>
                <a:lnTo>
                  <a:pt x="2479" y="627"/>
                </a:lnTo>
                <a:lnTo>
                  <a:pt x="2568" y="650"/>
                </a:lnTo>
                <a:lnTo>
                  <a:pt x="2657" y="680"/>
                </a:lnTo>
                <a:lnTo>
                  <a:pt x="2746" y="717"/>
                </a:lnTo>
                <a:lnTo>
                  <a:pt x="2769" y="726"/>
                </a:lnTo>
                <a:lnTo>
                  <a:pt x="2794" y="727"/>
                </a:lnTo>
                <a:lnTo>
                  <a:pt x="2817" y="722"/>
                </a:lnTo>
                <a:lnTo>
                  <a:pt x="2839" y="712"/>
                </a:lnTo>
                <a:lnTo>
                  <a:pt x="2858" y="697"/>
                </a:lnTo>
                <a:lnTo>
                  <a:pt x="2873" y="677"/>
                </a:lnTo>
                <a:lnTo>
                  <a:pt x="2882" y="655"/>
                </a:lnTo>
                <a:lnTo>
                  <a:pt x="2886" y="633"/>
                </a:lnTo>
                <a:lnTo>
                  <a:pt x="2884" y="609"/>
                </a:lnTo>
                <a:lnTo>
                  <a:pt x="2878" y="588"/>
                </a:lnTo>
                <a:lnTo>
                  <a:pt x="2866" y="568"/>
                </a:lnTo>
                <a:lnTo>
                  <a:pt x="2850" y="551"/>
                </a:lnTo>
                <a:lnTo>
                  <a:pt x="2830" y="539"/>
                </a:lnTo>
                <a:lnTo>
                  <a:pt x="2751" y="505"/>
                </a:lnTo>
                <a:lnTo>
                  <a:pt x="2669" y="475"/>
                </a:lnTo>
                <a:lnTo>
                  <a:pt x="2719" y="443"/>
                </a:lnTo>
                <a:lnTo>
                  <a:pt x="2768" y="406"/>
                </a:lnTo>
                <a:lnTo>
                  <a:pt x="2813" y="365"/>
                </a:lnTo>
                <a:lnTo>
                  <a:pt x="2844" y="331"/>
                </a:lnTo>
                <a:lnTo>
                  <a:pt x="2873" y="297"/>
                </a:lnTo>
                <a:lnTo>
                  <a:pt x="2899" y="260"/>
                </a:lnTo>
                <a:lnTo>
                  <a:pt x="2995" y="302"/>
                </a:lnTo>
                <a:lnTo>
                  <a:pt x="3087" y="350"/>
                </a:lnTo>
                <a:lnTo>
                  <a:pt x="3177" y="403"/>
                </a:lnTo>
                <a:lnTo>
                  <a:pt x="3264" y="462"/>
                </a:lnTo>
                <a:lnTo>
                  <a:pt x="3347" y="525"/>
                </a:lnTo>
                <a:lnTo>
                  <a:pt x="3426" y="594"/>
                </a:lnTo>
                <a:lnTo>
                  <a:pt x="3496" y="663"/>
                </a:lnTo>
                <a:lnTo>
                  <a:pt x="3560" y="736"/>
                </a:lnTo>
                <a:lnTo>
                  <a:pt x="3619" y="813"/>
                </a:lnTo>
                <a:lnTo>
                  <a:pt x="3672" y="892"/>
                </a:lnTo>
                <a:lnTo>
                  <a:pt x="3720" y="975"/>
                </a:lnTo>
                <a:lnTo>
                  <a:pt x="3761" y="1062"/>
                </a:lnTo>
                <a:lnTo>
                  <a:pt x="3797" y="1150"/>
                </a:lnTo>
                <a:lnTo>
                  <a:pt x="3827" y="1240"/>
                </a:lnTo>
                <a:lnTo>
                  <a:pt x="3851" y="1333"/>
                </a:lnTo>
                <a:lnTo>
                  <a:pt x="3869" y="1426"/>
                </a:lnTo>
                <a:lnTo>
                  <a:pt x="3880" y="1521"/>
                </a:lnTo>
                <a:lnTo>
                  <a:pt x="3885" y="1614"/>
                </a:lnTo>
                <a:lnTo>
                  <a:pt x="3884" y="1707"/>
                </a:lnTo>
                <a:lnTo>
                  <a:pt x="3877" y="1801"/>
                </a:lnTo>
                <a:lnTo>
                  <a:pt x="3863" y="1894"/>
                </a:lnTo>
                <a:lnTo>
                  <a:pt x="3842" y="1986"/>
                </a:lnTo>
                <a:lnTo>
                  <a:pt x="3816" y="2077"/>
                </a:lnTo>
                <a:lnTo>
                  <a:pt x="3782" y="2167"/>
                </a:lnTo>
                <a:lnTo>
                  <a:pt x="3707" y="2343"/>
                </a:lnTo>
                <a:lnTo>
                  <a:pt x="3626" y="2516"/>
                </a:lnTo>
                <a:lnTo>
                  <a:pt x="3539" y="2689"/>
                </a:lnTo>
                <a:lnTo>
                  <a:pt x="3451" y="2859"/>
                </a:lnTo>
                <a:lnTo>
                  <a:pt x="3359" y="3028"/>
                </a:lnTo>
                <a:lnTo>
                  <a:pt x="3268" y="3198"/>
                </a:lnTo>
                <a:lnTo>
                  <a:pt x="3177" y="3367"/>
                </a:lnTo>
                <a:lnTo>
                  <a:pt x="3162" y="3391"/>
                </a:lnTo>
                <a:lnTo>
                  <a:pt x="3142" y="3410"/>
                </a:lnTo>
                <a:lnTo>
                  <a:pt x="3121" y="3426"/>
                </a:lnTo>
                <a:lnTo>
                  <a:pt x="3097" y="3439"/>
                </a:lnTo>
                <a:lnTo>
                  <a:pt x="3069" y="3446"/>
                </a:lnTo>
                <a:lnTo>
                  <a:pt x="3042" y="3449"/>
                </a:lnTo>
                <a:lnTo>
                  <a:pt x="2648" y="3449"/>
                </a:lnTo>
                <a:lnTo>
                  <a:pt x="2617" y="3445"/>
                </a:lnTo>
                <a:lnTo>
                  <a:pt x="2588" y="3436"/>
                </a:lnTo>
                <a:lnTo>
                  <a:pt x="2562" y="3422"/>
                </a:lnTo>
                <a:lnTo>
                  <a:pt x="2540" y="3403"/>
                </a:lnTo>
                <a:lnTo>
                  <a:pt x="2521" y="3381"/>
                </a:lnTo>
                <a:lnTo>
                  <a:pt x="2506" y="3355"/>
                </a:lnTo>
                <a:lnTo>
                  <a:pt x="2498" y="3325"/>
                </a:lnTo>
                <a:lnTo>
                  <a:pt x="2494" y="3294"/>
                </a:lnTo>
                <a:lnTo>
                  <a:pt x="2494" y="3107"/>
                </a:lnTo>
                <a:lnTo>
                  <a:pt x="2395" y="3123"/>
                </a:lnTo>
                <a:lnTo>
                  <a:pt x="2294" y="3135"/>
                </a:lnTo>
                <a:lnTo>
                  <a:pt x="2191" y="3141"/>
                </a:lnTo>
                <a:lnTo>
                  <a:pt x="2087" y="3144"/>
                </a:lnTo>
                <a:lnTo>
                  <a:pt x="1999" y="3143"/>
                </a:lnTo>
                <a:lnTo>
                  <a:pt x="1912" y="3138"/>
                </a:lnTo>
                <a:lnTo>
                  <a:pt x="1827" y="3129"/>
                </a:lnTo>
                <a:lnTo>
                  <a:pt x="1727" y="3356"/>
                </a:lnTo>
                <a:lnTo>
                  <a:pt x="1712" y="3382"/>
                </a:lnTo>
                <a:lnTo>
                  <a:pt x="1694" y="3404"/>
                </a:lnTo>
                <a:lnTo>
                  <a:pt x="1670" y="3423"/>
                </a:lnTo>
                <a:lnTo>
                  <a:pt x="1644" y="3436"/>
                </a:lnTo>
                <a:lnTo>
                  <a:pt x="1616" y="3445"/>
                </a:lnTo>
                <a:lnTo>
                  <a:pt x="1586" y="3449"/>
                </a:lnTo>
                <a:lnTo>
                  <a:pt x="1192" y="3449"/>
                </a:lnTo>
                <a:lnTo>
                  <a:pt x="1161" y="3445"/>
                </a:lnTo>
                <a:lnTo>
                  <a:pt x="1131" y="3436"/>
                </a:lnTo>
                <a:lnTo>
                  <a:pt x="1105" y="3422"/>
                </a:lnTo>
                <a:lnTo>
                  <a:pt x="1082" y="3403"/>
                </a:lnTo>
                <a:lnTo>
                  <a:pt x="1064" y="3381"/>
                </a:lnTo>
                <a:lnTo>
                  <a:pt x="1049" y="3355"/>
                </a:lnTo>
                <a:lnTo>
                  <a:pt x="1040" y="3325"/>
                </a:lnTo>
                <a:lnTo>
                  <a:pt x="1037" y="3294"/>
                </a:lnTo>
                <a:lnTo>
                  <a:pt x="1037" y="2862"/>
                </a:lnTo>
                <a:lnTo>
                  <a:pt x="951" y="2808"/>
                </a:lnTo>
                <a:lnTo>
                  <a:pt x="869" y="2749"/>
                </a:lnTo>
                <a:lnTo>
                  <a:pt x="792" y="2686"/>
                </a:lnTo>
                <a:lnTo>
                  <a:pt x="719" y="2620"/>
                </a:lnTo>
                <a:lnTo>
                  <a:pt x="651" y="2551"/>
                </a:lnTo>
                <a:lnTo>
                  <a:pt x="588" y="2477"/>
                </a:lnTo>
                <a:lnTo>
                  <a:pt x="529" y="2401"/>
                </a:lnTo>
                <a:lnTo>
                  <a:pt x="476" y="2322"/>
                </a:lnTo>
                <a:lnTo>
                  <a:pt x="429" y="2239"/>
                </a:lnTo>
                <a:lnTo>
                  <a:pt x="388" y="2154"/>
                </a:lnTo>
                <a:lnTo>
                  <a:pt x="353" y="2066"/>
                </a:lnTo>
                <a:lnTo>
                  <a:pt x="70" y="1919"/>
                </a:lnTo>
                <a:lnTo>
                  <a:pt x="47" y="1903"/>
                </a:lnTo>
                <a:lnTo>
                  <a:pt x="27" y="1883"/>
                </a:lnTo>
                <a:lnTo>
                  <a:pt x="12" y="1858"/>
                </a:lnTo>
                <a:lnTo>
                  <a:pt x="3" y="1831"/>
                </a:lnTo>
                <a:lnTo>
                  <a:pt x="0" y="1802"/>
                </a:lnTo>
                <a:lnTo>
                  <a:pt x="0" y="1315"/>
                </a:lnTo>
                <a:lnTo>
                  <a:pt x="3" y="1284"/>
                </a:lnTo>
                <a:lnTo>
                  <a:pt x="13" y="1256"/>
                </a:lnTo>
                <a:lnTo>
                  <a:pt x="30" y="1232"/>
                </a:lnTo>
                <a:lnTo>
                  <a:pt x="49" y="1212"/>
                </a:lnTo>
                <a:lnTo>
                  <a:pt x="74" y="1196"/>
                </a:lnTo>
                <a:lnTo>
                  <a:pt x="101" y="1186"/>
                </a:lnTo>
                <a:lnTo>
                  <a:pt x="132" y="1183"/>
                </a:lnTo>
                <a:lnTo>
                  <a:pt x="349" y="1183"/>
                </a:lnTo>
                <a:lnTo>
                  <a:pt x="384" y="1097"/>
                </a:lnTo>
                <a:lnTo>
                  <a:pt x="425" y="1012"/>
                </a:lnTo>
                <a:lnTo>
                  <a:pt x="471" y="929"/>
                </a:lnTo>
                <a:lnTo>
                  <a:pt x="523" y="851"/>
                </a:lnTo>
                <a:lnTo>
                  <a:pt x="580" y="774"/>
                </a:lnTo>
                <a:lnTo>
                  <a:pt x="642" y="701"/>
                </a:lnTo>
                <a:lnTo>
                  <a:pt x="709" y="632"/>
                </a:lnTo>
                <a:lnTo>
                  <a:pt x="781" y="565"/>
                </a:lnTo>
                <a:lnTo>
                  <a:pt x="604" y="199"/>
                </a:lnTo>
                <a:lnTo>
                  <a:pt x="594" y="171"/>
                </a:lnTo>
                <a:lnTo>
                  <a:pt x="590" y="143"/>
                </a:lnTo>
                <a:lnTo>
                  <a:pt x="593" y="116"/>
                </a:lnTo>
                <a:lnTo>
                  <a:pt x="600" y="90"/>
                </a:lnTo>
                <a:lnTo>
                  <a:pt x="614" y="65"/>
                </a:lnTo>
                <a:lnTo>
                  <a:pt x="632" y="45"/>
                </a:lnTo>
                <a:lnTo>
                  <a:pt x="653" y="28"/>
                </a:lnTo>
                <a:lnTo>
                  <a:pt x="679" y="16"/>
                </a:lnTo>
                <a:lnTo>
                  <a:pt x="709" y="10"/>
                </a:lnTo>
                <a:lnTo>
                  <a:pt x="764" y="5"/>
                </a:lnTo>
                <a:lnTo>
                  <a:pt x="824" y="2"/>
                </a:lnTo>
                <a:lnTo>
                  <a:pt x="89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Freeform 36"/>
          <p:cNvSpPr>
            <a:spLocks/>
          </p:cNvSpPr>
          <p:nvPr/>
        </p:nvSpPr>
        <p:spPr bwMode="auto">
          <a:xfrm>
            <a:off x="5446693" y="3324018"/>
            <a:ext cx="336709" cy="301538"/>
          </a:xfrm>
          <a:custGeom>
            <a:avLst/>
            <a:gdLst>
              <a:gd name="T0" fmla="*/ 239 w 239"/>
              <a:gd name="T1" fmla="*/ 0 h 226"/>
              <a:gd name="T2" fmla="*/ 227 w 239"/>
              <a:gd name="T3" fmla="*/ 27 h 226"/>
              <a:gd name="T4" fmla="*/ 224 w 239"/>
              <a:gd name="T5" fmla="*/ 24 h 226"/>
              <a:gd name="T6" fmla="*/ 143 w 239"/>
              <a:gd name="T7" fmla="*/ 108 h 226"/>
              <a:gd name="T8" fmla="*/ 121 w 239"/>
              <a:gd name="T9" fmla="*/ 94 h 226"/>
              <a:gd name="T10" fmla="*/ 6 w 239"/>
              <a:gd name="T11" fmla="*/ 226 h 226"/>
              <a:gd name="T12" fmla="*/ 0 w 239"/>
              <a:gd name="T13" fmla="*/ 219 h 226"/>
              <a:gd name="T14" fmla="*/ 122 w 239"/>
              <a:gd name="T15" fmla="*/ 79 h 226"/>
              <a:gd name="T16" fmla="*/ 145 w 239"/>
              <a:gd name="T17" fmla="*/ 94 h 226"/>
              <a:gd name="T18" fmla="*/ 216 w 239"/>
              <a:gd name="T19" fmla="*/ 16 h 226"/>
              <a:gd name="T20" fmla="*/ 213 w 239"/>
              <a:gd name="T21" fmla="*/ 12 h 226"/>
              <a:gd name="T22" fmla="*/ 239 w 239"/>
              <a:gd name="T2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9" h="226">
                <a:moveTo>
                  <a:pt x="239" y="0"/>
                </a:moveTo>
                <a:lnTo>
                  <a:pt x="227" y="27"/>
                </a:lnTo>
                <a:lnTo>
                  <a:pt x="224" y="24"/>
                </a:lnTo>
                <a:lnTo>
                  <a:pt x="143" y="108"/>
                </a:lnTo>
                <a:lnTo>
                  <a:pt x="121" y="94"/>
                </a:lnTo>
                <a:lnTo>
                  <a:pt x="6" y="226"/>
                </a:lnTo>
                <a:lnTo>
                  <a:pt x="0" y="219"/>
                </a:lnTo>
                <a:lnTo>
                  <a:pt x="122" y="79"/>
                </a:lnTo>
                <a:lnTo>
                  <a:pt x="145" y="94"/>
                </a:lnTo>
                <a:lnTo>
                  <a:pt x="216" y="16"/>
                </a:lnTo>
                <a:lnTo>
                  <a:pt x="213" y="12"/>
                </a:lnTo>
                <a:lnTo>
                  <a:pt x="23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37"/>
          <p:cNvSpPr>
            <a:spLocks/>
          </p:cNvSpPr>
          <p:nvPr/>
        </p:nvSpPr>
        <p:spPr bwMode="auto">
          <a:xfrm>
            <a:off x="5436096" y="3505155"/>
            <a:ext cx="319803" cy="297537"/>
          </a:xfrm>
          <a:custGeom>
            <a:avLst/>
            <a:gdLst>
              <a:gd name="T0" fmla="*/ 198 w 227"/>
              <a:gd name="T1" fmla="*/ 0 h 223"/>
              <a:gd name="T2" fmla="*/ 201 w 227"/>
              <a:gd name="T3" fmla="*/ 1 h 223"/>
              <a:gd name="T4" fmla="*/ 203 w 227"/>
              <a:gd name="T5" fmla="*/ 4 h 223"/>
              <a:gd name="T6" fmla="*/ 203 w 227"/>
              <a:gd name="T7" fmla="*/ 7 h 223"/>
              <a:gd name="T8" fmla="*/ 194 w 227"/>
              <a:gd name="T9" fmla="*/ 126 h 223"/>
              <a:gd name="T10" fmla="*/ 194 w 227"/>
              <a:gd name="T11" fmla="*/ 131 h 223"/>
              <a:gd name="T12" fmla="*/ 227 w 227"/>
              <a:gd name="T13" fmla="*/ 119 h 223"/>
              <a:gd name="T14" fmla="*/ 224 w 227"/>
              <a:gd name="T15" fmla="*/ 162 h 223"/>
              <a:gd name="T16" fmla="*/ 0 w 227"/>
              <a:gd name="T17" fmla="*/ 223 h 223"/>
              <a:gd name="T18" fmla="*/ 3 w 227"/>
              <a:gd name="T19" fmla="*/ 190 h 223"/>
              <a:gd name="T20" fmla="*/ 38 w 227"/>
              <a:gd name="T21" fmla="*/ 178 h 223"/>
              <a:gd name="T22" fmla="*/ 38 w 227"/>
              <a:gd name="T23" fmla="*/ 175 h 223"/>
              <a:gd name="T24" fmla="*/ 41 w 227"/>
              <a:gd name="T25" fmla="*/ 140 h 223"/>
              <a:gd name="T26" fmla="*/ 42 w 227"/>
              <a:gd name="T27" fmla="*/ 135 h 223"/>
              <a:gd name="T28" fmla="*/ 44 w 227"/>
              <a:gd name="T29" fmla="*/ 131 h 223"/>
              <a:gd name="T30" fmla="*/ 47 w 227"/>
              <a:gd name="T31" fmla="*/ 128 h 223"/>
              <a:gd name="T32" fmla="*/ 51 w 227"/>
              <a:gd name="T33" fmla="*/ 126 h 223"/>
              <a:gd name="T34" fmla="*/ 54 w 227"/>
              <a:gd name="T35" fmla="*/ 126 h 223"/>
              <a:gd name="T36" fmla="*/ 57 w 227"/>
              <a:gd name="T37" fmla="*/ 126 h 223"/>
              <a:gd name="T38" fmla="*/ 60 w 227"/>
              <a:gd name="T39" fmla="*/ 129 h 223"/>
              <a:gd name="T40" fmla="*/ 60 w 227"/>
              <a:gd name="T41" fmla="*/ 134 h 223"/>
              <a:gd name="T42" fmla="*/ 57 w 227"/>
              <a:gd name="T43" fmla="*/ 169 h 223"/>
              <a:gd name="T44" fmla="*/ 55 w 227"/>
              <a:gd name="T45" fmla="*/ 174 h 223"/>
              <a:gd name="T46" fmla="*/ 109 w 227"/>
              <a:gd name="T47" fmla="*/ 158 h 223"/>
              <a:gd name="T48" fmla="*/ 108 w 227"/>
              <a:gd name="T49" fmla="*/ 155 h 223"/>
              <a:gd name="T50" fmla="*/ 115 w 227"/>
              <a:gd name="T51" fmla="*/ 65 h 223"/>
              <a:gd name="T52" fmla="*/ 117 w 227"/>
              <a:gd name="T53" fmla="*/ 62 h 223"/>
              <a:gd name="T54" fmla="*/ 118 w 227"/>
              <a:gd name="T55" fmla="*/ 58 h 223"/>
              <a:gd name="T56" fmla="*/ 121 w 227"/>
              <a:gd name="T57" fmla="*/ 55 h 223"/>
              <a:gd name="T58" fmla="*/ 125 w 227"/>
              <a:gd name="T59" fmla="*/ 53 h 223"/>
              <a:gd name="T60" fmla="*/ 128 w 227"/>
              <a:gd name="T61" fmla="*/ 52 h 223"/>
              <a:gd name="T62" fmla="*/ 131 w 227"/>
              <a:gd name="T63" fmla="*/ 53 h 223"/>
              <a:gd name="T64" fmla="*/ 134 w 227"/>
              <a:gd name="T65" fmla="*/ 56 h 223"/>
              <a:gd name="T66" fmla="*/ 134 w 227"/>
              <a:gd name="T67" fmla="*/ 59 h 223"/>
              <a:gd name="T68" fmla="*/ 127 w 227"/>
              <a:gd name="T69" fmla="*/ 147 h 223"/>
              <a:gd name="T70" fmla="*/ 127 w 227"/>
              <a:gd name="T71" fmla="*/ 152 h 223"/>
              <a:gd name="T72" fmla="*/ 176 w 227"/>
              <a:gd name="T73" fmla="*/ 135 h 223"/>
              <a:gd name="T74" fmla="*/ 175 w 227"/>
              <a:gd name="T75" fmla="*/ 132 h 223"/>
              <a:gd name="T76" fmla="*/ 185 w 227"/>
              <a:gd name="T77" fmla="*/ 13 h 223"/>
              <a:gd name="T78" fmla="*/ 185 w 227"/>
              <a:gd name="T79" fmla="*/ 9 h 223"/>
              <a:gd name="T80" fmla="*/ 188 w 227"/>
              <a:gd name="T81" fmla="*/ 6 h 223"/>
              <a:gd name="T82" fmla="*/ 191 w 227"/>
              <a:gd name="T83" fmla="*/ 3 h 223"/>
              <a:gd name="T84" fmla="*/ 195 w 227"/>
              <a:gd name="T85" fmla="*/ 0 h 223"/>
              <a:gd name="T86" fmla="*/ 198 w 227"/>
              <a:gd name="T87" fmla="*/ 0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7" h="223">
                <a:moveTo>
                  <a:pt x="198" y="0"/>
                </a:moveTo>
                <a:lnTo>
                  <a:pt x="201" y="1"/>
                </a:lnTo>
                <a:lnTo>
                  <a:pt x="203" y="4"/>
                </a:lnTo>
                <a:lnTo>
                  <a:pt x="203" y="7"/>
                </a:lnTo>
                <a:lnTo>
                  <a:pt x="194" y="126"/>
                </a:lnTo>
                <a:lnTo>
                  <a:pt x="194" y="131"/>
                </a:lnTo>
                <a:lnTo>
                  <a:pt x="227" y="119"/>
                </a:lnTo>
                <a:lnTo>
                  <a:pt x="224" y="162"/>
                </a:lnTo>
                <a:lnTo>
                  <a:pt x="0" y="223"/>
                </a:lnTo>
                <a:lnTo>
                  <a:pt x="3" y="190"/>
                </a:lnTo>
                <a:lnTo>
                  <a:pt x="38" y="178"/>
                </a:lnTo>
                <a:lnTo>
                  <a:pt x="38" y="175"/>
                </a:lnTo>
                <a:lnTo>
                  <a:pt x="41" y="140"/>
                </a:lnTo>
                <a:lnTo>
                  <a:pt x="42" y="135"/>
                </a:lnTo>
                <a:lnTo>
                  <a:pt x="44" y="131"/>
                </a:lnTo>
                <a:lnTo>
                  <a:pt x="47" y="128"/>
                </a:lnTo>
                <a:lnTo>
                  <a:pt x="51" y="126"/>
                </a:lnTo>
                <a:lnTo>
                  <a:pt x="54" y="126"/>
                </a:lnTo>
                <a:lnTo>
                  <a:pt x="57" y="126"/>
                </a:lnTo>
                <a:lnTo>
                  <a:pt x="60" y="129"/>
                </a:lnTo>
                <a:lnTo>
                  <a:pt x="60" y="134"/>
                </a:lnTo>
                <a:lnTo>
                  <a:pt x="57" y="169"/>
                </a:lnTo>
                <a:lnTo>
                  <a:pt x="55" y="174"/>
                </a:lnTo>
                <a:lnTo>
                  <a:pt x="109" y="158"/>
                </a:lnTo>
                <a:lnTo>
                  <a:pt x="108" y="155"/>
                </a:lnTo>
                <a:lnTo>
                  <a:pt x="115" y="65"/>
                </a:lnTo>
                <a:lnTo>
                  <a:pt x="117" y="62"/>
                </a:lnTo>
                <a:lnTo>
                  <a:pt x="118" y="58"/>
                </a:lnTo>
                <a:lnTo>
                  <a:pt x="121" y="55"/>
                </a:lnTo>
                <a:lnTo>
                  <a:pt x="125" y="53"/>
                </a:lnTo>
                <a:lnTo>
                  <a:pt x="128" y="52"/>
                </a:lnTo>
                <a:lnTo>
                  <a:pt x="131" y="53"/>
                </a:lnTo>
                <a:lnTo>
                  <a:pt x="134" y="56"/>
                </a:lnTo>
                <a:lnTo>
                  <a:pt x="134" y="59"/>
                </a:lnTo>
                <a:lnTo>
                  <a:pt x="127" y="147"/>
                </a:lnTo>
                <a:lnTo>
                  <a:pt x="127" y="152"/>
                </a:lnTo>
                <a:lnTo>
                  <a:pt x="176" y="135"/>
                </a:lnTo>
                <a:lnTo>
                  <a:pt x="175" y="132"/>
                </a:lnTo>
                <a:lnTo>
                  <a:pt x="185" y="13"/>
                </a:lnTo>
                <a:lnTo>
                  <a:pt x="185" y="9"/>
                </a:lnTo>
                <a:lnTo>
                  <a:pt x="188" y="6"/>
                </a:lnTo>
                <a:lnTo>
                  <a:pt x="191" y="3"/>
                </a:lnTo>
                <a:lnTo>
                  <a:pt x="195" y="0"/>
                </a:lnTo>
                <a:lnTo>
                  <a:pt x="19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37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Прямоугольник 118"/>
          <p:cNvSpPr/>
          <p:nvPr/>
        </p:nvSpPr>
        <p:spPr>
          <a:xfrm>
            <a:off x="3774376" y="2204864"/>
            <a:ext cx="5369627" cy="20472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дательные нововведения;</a:t>
            </a:r>
          </a:p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ведение торгов на Единой торговой площадке;</a:t>
            </a:r>
          </a:p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работка Дорожной карты для каждого объекта;</a:t>
            </a:r>
          </a:p>
          <a:p>
            <a:pPr marL="285750" indent="-285750"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ичие ТОПОВЫХ ОБЪЕКТОВ;</a:t>
            </a:r>
          </a:p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ждународный опыт и контроль.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8152" y="525104"/>
            <a:ext cx="9135848" cy="1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Заголовок 1"/>
          <p:cNvSpPr txBox="1">
            <a:spLocks/>
          </p:cNvSpPr>
          <p:nvPr/>
        </p:nvSpPr>
        <p:spPr>
          <a:xfrm>
            <a:off x="0" y="46282"/>
            <a:ext cx="9144000" cy="566137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ПРИВАТИЗАЦИЯ - «ВТОРАЯ ВОЛНА»</a:t>
            </a:r>
            <a:endParaRPr lang="ru-RU" sz="26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Freeform 46"/>
          <p:cNvSpPr>
            <a:spLocks/>
          </p:cNvSpPr>
          <p:nvPr/>
        </p:nvSpPr>
        <p:spPr bwMode="auto">
          <a:xfrm>
            <a:off x="186139" y="1124744"/>
            <a:ext cx="3527098" cy="3007771"/>
          </a:xfrm>
          <a:custGeom>
            <a:avLst/>
            <a:gdLst>
              <a:gd name="T0" fmla="*/ 1590 w 2291"/>
              <a:gd name="T1" fmla="*/ 888 h 2290"/>
              <a:gd name="T2" fmla="*/ 1387 w 2291"/>
              <a:gd name="T3" fmla="*/ 918 h 2290"/>
              <a:gd name="T4" fmla="*/ 885 w 2291"/>
              <a:gd name="T5" fmla="*/ 527 h 2290"/>
              <a:gd name="T6" fmla="*/ 893 w 2291"/>
              <a:gd name="T7" fmla="*/ 446 h 2290"/>
              <a:gd name="T8" fmla="*/ 447 w 2291"/>
              <a:gd name="T9" fmla="*/ 0 h 2290"/>
              <a:gd name="T10" fmla="*/ 0 w 2291"/>
              <a:gd name="T11" fmla="*/ 446 h 2290"/>
              <a:gd name="T12" fmla="*/ 447 w 2291"/>
              <a:gd name="T13" fmla="*/ 892 h 2290"/>
              <a:gd name="T14" fmla="*/ 528 w 2291"/>
              <a:gd name="T15" fmla="*/ 885 h 2290"/>
              <a:gd name="T16" fmla="*/ 919 w 2291"/>
              <a:gd name="T17" fmla="*/ 1386 h 2290"/>
              <a:gd name="T18" fmla="*/ 889 w 2291"/>
              <a:gd name="T19" fmla="*/ 1589 h 2290"/>
              <a:gd name="T20" fmla="*/ 1590 w 2291"/>
              <a:gd name="T21" fmla="*/ 2290 h 2290"/>
              <a:gd name="T22" fmla="*/ 2291 w 2291"/>
              <a:gd name="T23" fmla="*/ 1589 h 2290"/>
              <a:gd name="T24" fmla="*/ 1590 w 2291"/>
              <a:gd name="T25" fmla="*/ 888 h 2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291" h="2290">
                <a:moveTo>
                  <a:pt x="1590" y="888"/>
                </a:moveTo>
                <a:cubicBezTo>
                  <a:pt x="1519" y="888"/>
                  <a:pt x="1451" y="899"/>
                  <a:pt x="1387" y="918"/>
                </a:cubicBezTo>
                <a:cubicBezTo>
                  <a:pt x="1015" y="1028"/>
                  <a:pt x="842" y="770"/>
                  <a:pt x="885" y="527"/>
                </a:cubicBezTo>
                <a:cubicBezTo>
                  <a:pt x="890" y="501"/>
                  <a:pt x="893" y="474"/>
                  <a:pt x="893" y="446"/>
                </a:cubicBezTo>
                <a:cubicBezTo>
                  <a:pt x="893" y="200"/>
                  <a:pt x="693" y="0"/>
                  <a:pt x="447" y="0"/>
                </a:cubicBezTo>
                <a:cubicBezTo>
                  <a:pt x="201" y="0"/>
                  <a:pt x="0" y="200"/>
                  <a:pt x="0" y="446"/>
                </a:cubicBezTo>
                <a:cubicBezTo>
                  <a:pt x="0" y="692"/>
                  <a:pt x="201" y="892"/>
                  <a:pt x="447" y="892"/>
                </a:cubicBezTo>
                <a:cubicBezTo>
                  <a:pt x="474" y="892"/>
                  <a:pt x="502" y="889"/>
                  <a:pt x="528" y="885"/>
                </a:cubicBezTo>
                <a:cubicBezTo>
                  <a:pt x="771" y="841"/>
                  <a:pt x="1029" y="1015"/>
                  <a:pt x="919" y="1386"/>
                </a:cubicBezTo>
                <a:cubicBezTo>
                  <a:pt x="899" y="1450"/>
                  <a:pt x="889" y="1519"/>
                  <a:pt x="889" y="1589"/>
                </a:cubicBezTo>
                <a:cubicBezTo>
                  <a:pt x="889" y="1976"/>
                  <a:pt x="1203" y="2290"/>
                  <a:pt x="1590" y="2290"/>
                </a:cubicBezTo>
                <a:cubicBezTo>
                  <a:pt x="1976" y="2290"/>
                  <a:pt x="2291" y="1976"/>
                  <a:pt x="2291" y="1589"/>
                </a:cubicBezTo>
                <a:cubicBezTo>
                  <a:pt x="2291" y="1203"/>
                  <a:pt x="1976" y="888"/>
                  <a:pt x="1590" y="888"/>
                </a:cubicBezTo>
                <a:close/>
              </a:path>
            </a:pathLst>
          </a:custGeom>
          <a:gradFill>
            <a:gsLst>
              <a:gs pos="35000">
                <a:srgbClr val="00297A"/>
              </a:gs>
              <a:gs pos="70000">
                <a:srgbClr val="0070C0"/>
              </a:gs>
              <a:gs pos="100000">
                <a:srgbClr val="00B0F0"/>
              </a:gs>
            </a:gsLst>
            <a:lin ang="5400000" scaled="1"/>
          </a:gradFill>
          <a:ln w="1270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914126"/>
            <a:endParaRPr lang="en-US" sz="1799" b="1" ker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Freeform 47"/>
          <p:cNvSpPr>
            <a:spLocks/>
          </p:cNvSpPr>
          <p:nvPr/>
        </p:nvSpPr>
        <p:spPr bwMode="auto">
          <a:xfrm>
            <a:off x="0" y="594277"/>
            <a:ext cx="3109684" cy="3390715"/>
          </a:xfrm>
          <a:custGeom>
            <a:avLst/>
            <a:gdLst>
              <a:gd name="T0" fmla="*/ 1646 w 2197"/>
              <a:gd name="T1" fmla="*/ 0 h 2197"/>
              <a:gd name="T2" fmla="*/ 1095 w 2197"/>
              <a:gd name="T3" fmla="*/ 551 h 2197"/>
              <a:gd name="T4" fmla="*/ 1122 w 2197"/>
              <a:gd name="T5" fmla="*/ 722 h 2197"/>
              <a:gd name="T6" fmla="*/ 721 w 2197"/>
              <a:gd name="T7" fmla="*/ 1122 h 2197"/>
              <a:gd name="T8" fmla="*/ 551 w 2197"/>
              <a:gd name="T9" fmla="*/ 1095 h 2197"/>
              <a:gd name="T10" fmla="*/ 0 w 2197"/>
              <a:gd name="T11" fmla="*/ 1646 h 2197"/>
              <a:gd name="T12" fmla="*/ 551 w 2197"/>
              <a:gd name="T13" fmla="*/ 2197 h 2197"/>
              <a:gd name="T14" fmla="*/ 1102 w 2197"/>
              <a:gd name="T15" fmla="*/ 1646 h 2197"/>
              <a:gd name="T16" fmla="*/ 1075 w 2197"/>
              <a:gd name="T17" fmla="*/ 1475 h 2197"/>
              <a:gd name="T18" fmla="*/ 1475 w 2197"/>
              <a:gd name="T19" fmla="*/ 1075 h 2197"/>
              <a:gd name="T20" fmla="*/ 1646 w 2197"/>
              <a:gd name="T21" fmla="*/ 1102 h 2197"/>
              <a:gd name="T22" fmla="*/ 2197 w 2197"/>
              <a:gd name="T23" fmla="*/ 551 h 2197"/>
              <a:gd name="T24" fmla="*/ 1646 w 2197"/>
              <a:gd name="T25" fmla="*/ 0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97" h="2197">
                <a:moveTo>
                  <a:pt x="1646" y="0"/>
                </a:moveTo>
                <a:cubicBezTo>
                  <a:pt x="1342" y="0"/>
                  <a:pt x="1095" y="247"/>
                  <a:pt x="1095" y="551"/>
                </a:cubicBezTo>
                <a:cubicBezTo>
                  <a:pt x="1095" y="611"/>
                  <a:pt x="1104" y="668"/>
                  <a:pt x="1122" y="722"/>
                </a:cubicBezTo>
                <a:cubicBezTo>
                  <a:pt x="1209" y="991"/>
                  <a:pt x="990" y="1209"/>
                  <a:pt x="721" y="1122"/>
                </a:cubicBezTo>
                <a:cubicBezTo>
                  <a:pt x="668" y="1105"/>
                  <a:pt x="610" y="1095"/>
                  <a:pt x="551" y="1095"/>
                </a:cubicBezTo>
                <a:cubicBezTo>
                  <a:pt x="247" y="1095"/>
                  <a:pt x="0" y="1342"/>
                  <a:pt x="0" y="1646"/>
                </a:cubicBezTo>
                <a:cubicBezTo>
                  <a:pt x="0" y="1950"/>
                  <a:pt x="247" y="2197"/>
                  <a:pt x="551" y="2197"/>
                </a:cubicBezTo>
                <a:cubicBezTo>
                  <a:pt x="855" y="2197"/>
                  <a:pt x="1102" y="1950"/>
                  <a:pt x="1102" y="1646"/>
                </a:cubicBezTo>
                <a:cubicBezTo>
                  <a:pt x="1102" y="1586"/>
                  <a:pt x="1092" y="1529"/>
                  <a:pt x="1075" y="1475"/>
                </a:cubicBezTo>
                <a:cubicBezTo>
                  <a:pt x="988" y="1206"/>
                  <a:pt x="1206" y="988"/>
                  <a:pt x="1475" y="1075"/>
                </a:cubicBezTo>
                <a:cubicBezTo>
                  <a:pt x="1529" y="1093"/>
                  <a:pt x="1586" y="1102"/>
                  <a:pt x="1646" y="1102"/>
                </a:cubicBezTo>
                <a:cubicBezTo>
                  <a:pt x="1950" y="1102"/>
                  <a:pt x="2197" y="855"/>
                  <a:pt x="2197" y="551"/>
                </a:cubicBezTo>
                <a:cubicBezTo>
                  <a:pt x="2197" y="247"/>
                  <a:pt x="1950" y="0"/>
                  <a:pt x="1646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Oval 138"/>
          <p:cNvSpPr/>
          <p:nvPr/>
        </p:nvSpPr>
        <p:spPr>
          <a:xfrm>
            <a:off x="1647371" y="750987"/>
            <a:ext cx="1329505" cy="14496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139"/>
          <p:cNvSpPr/>
          <p:nvPr/>
        </p:nvSpPr>
        <p:spPr>
          <a:xfrm>
            <a:off x="1676822" y="2430413"/>
            <a:ext cx="1922060" cy="158417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40"/>
          <p:cNvGrpSpPr/>
          <p:nvPr/>
        </p:nvGrpSpPr>
        <p:grpSpPr>
          <a:xfrm>
            <a:off x="118583" y="2417837"/>
            <a:ext cx="1329378" cy="1440160"/>
            <a:chOff x="3900027" y="3604579"/>
            <a:chExt cx="1060223" cy="1288438"/>
          </a:xfrm>
        </p:grpSpPr>
        <p:sp>
          <p:nvSpPr>
            <p:cNvPr id="86" name="Oval 141"/>
            <p:cNvSpPr/>
            <p:nvPr/>
          </p:nvSpPr>
          <p:spPr>
            <a:xfrm>
              <a:off x="3900027" y="3604579"/>
              <a:ext cx="1060223" cy="1288438"/>
            </a:xfrm>
            <a:prstGeom prst="ellipse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Group 142"/>
            <p:cNvGrpSpPr/>
            <p:nvPr/>
          </p:nvGrpSpPr>
          <p:grpSpPr>
            <a:xfrm>
              <a:off x="4154108" y="3975692"/>
              <a:ext cx="549691" cy="602408"/>
              <a:chOff x="6680410" y="1278603"/>
              <a:chExt cx="347658" cy="381001"/>
            </a:xfrm>
            <a:solidFill>
              <a:schemeClr val="bg1"/>
            </a:solidFill>
          </p:grpSpPr>
          <p:sp>
            <p:nvSpPr>
              <p:cNvPr id="88" name="Freeform 27"/>
              <p:cNvSpPr>
                <a:spLocks noEditPoints="1"/>
              </p:cNvSpPr>
              <p:nvPr/>
            </p:nvSpPr>
            <p:spPr bwMode="auto">
              <a:xfrm>
                <a:off x="6742719" y="1335754"/>
                <a:ext cx="233362" cy="323850"/>
              </a:xfrm>
              <a:custGeom>
                <a:avLst/>
                <a:gdLst>
                  <a:gd name="T0" fmla="*/ 762 w 2060"/>
                  <a:gd name="T1" fmla="*/ 305 h 2844"/>
                  <a:gd name="T2" fmla="*/ 486 w 2060"/>
                  <a:gd name="T3" fmla="*/ 474 h 2844"/>
                  <a:gd name="T4" fmla="*/ 309 w 2060"/>
                  <a:gd name="T5" fmla="*/ 735 h 2844"/>
                  <a:gd name="T6" fmla="*/ 263 w 2060"/>
                  <a:gd name="T7" fmla="*/ 1051 h 2844"/>
                  <a:gd name="T8" fmla="*/ 318 w 2060"/>
                  <a:gd name="T9" fmla="*/ 1304 h 2844"/>
                  <a:gd name="T10" fmla="*/ 420 w 2060"/>
                  <a:gd name="T11" fmla="*/ 1495 h 2844"/>
                  <a:gd name="T12" fmla="*/ 538 w 2060"/>
                  <a:gd name="T13" fmla="*/ 1673 h 2844"/>
                  <a:gd name="T14" fmla="*/ 612 w 2060"/>
                  <a:gd name="T15" fmla="*/ 1872 h 2844"/>
                  <a:gd name="T16" fmla="*/ 656 w 2060"/>
                  <a:gd name="T17" fmla="*/ 2010 h 2844"/>
                  <a:gd name="T18" fmla="*/ 1366 w 2060"/>
                  <a:gd name="T19" fmla="*/ 2043 h 2844"/>
                  <a:gd name="T20" fmla="*/ 1443 w 2060"/>
                  <a:gd name="T21" fmla="*/ 1943 h 2844"/>
                  <a:gd name="T22" fmla="*/ 1482 w 2060"/>
                  <a:gd name="T23" fmla="*/ 1749 h 2844"/>
                  <a:gd name="T24" fmla="*/ 1594 w 2060"/>
                  <a:gd name="T25" fmla="*/ 1563 h 2844"/>
                  <a:gd name="T26" fmla="*/ 1703 w 2060"/>
                  <a:gd name="T27" fmla="*/ 1386 h 2844"/>
                  <a:gd name="T28" fmla="*/ 1783 w 2060"/>
                  <a:gd name="T29" fmla="*/ 1161 h 2844"/>
                  <a:gd name="T30" fmla="*/ 1787 w 2060"/>
                  <a:gd name="T31" fmla="*/ 858 h 2844"/>
                  <a:gd name="T32" fmla="*/ 1659 w 2060"/>
                  <a:gd name="T33" fmla="*/ 569 h 2844"/>
                  <a:gd name="T34" fmla="*/ 1418 w 2060"/>
                  <a:gd name="T35" fmla="*/ 359 h 2844"/>
                  <a:gd name="T36" fmla="*/ 1100 w 2060"/>
                  <a:gd name="T37" fmla="*/ 262 h 2844"/>
                  <a:gd name="T38" fmla="*/ 1277 w 2060"/>
                  <a:gd name="T39" fmla="*/ 30 h 2844"/>
                  <a:gd name="T40" fmla="*/ 1637 w 2060"/>
                  <a:gd name="T41" fmla="*/ 192 h 2844"/>
                  <a:gd name="T42" fmla="*/ 1905 w 2060"/>
                  <a:gd name="T43" fmla="*/ 468 h 2844"/>
                  <a:gd name="T44" fmla="*/ 2046 w 2060"/>
                  <a:gd name="T45" fmla="*/ 829 h 2844"/>
                  <a:gd name="T46" fmla="*/ 2044 w 2060"/>
                  <a:gd name="T47" fmla="*/ 1185 h 2844"/>
                  <a:gd name="T48" fmla="*/ 1964 w 2060"/>
                  <a:gd name="T49" fmla="*/ 1447 h 2844"/>
                  <a:gd name="T50" fmla="*/ 1853 w 2060"/>
                  <a:gd name="T51" fmla="*/ 1643 h 2844"/>
                  <a:gd name="T52" fmla="*/ 1740 w 2060"/>
                  <a:gd name="T53" fmla="*/ 1813 h 2844"/>
                  <a:gd name="T54" fmla="*/ 1702 w 2060"/>
                  <a:gd name="T55" fmla="*/ 1965 h 2844"/>
                  <a:gd name="T56" fmla="*/ 1596 w 2060"/>
                  <a:gd name="T57" fmla="*/ 2184 h 2844"/>
                  <a:gd name="T58" fmla="*/ 1510 w 2060"/>
                  <a:gd name="T59" fmla="*/ 2331 h 2844"/>
                  <a:gd name="T60" fmla="*/ 1502 w 2060"/>
                  <a:gd name="T61" fmla="*/ 2468 h 2844"/>
                  <a:gd name="T62" fmla="*/ 1499 w 2060"/>
                  <a:gd name="T63" fmla="*/ 2532 h 2844"/>
                  <a:gd name="T64" fmla="*/ 1468 w 2060"/>
                  <a:gd name="T65" fmla="*/ 2616 h 2844"/>
                  <a:gd name="T66" fmla="*/ 1361 w 2060"/>
                  <a:gd name="T67" fmla="*/ 2709 h 2844"/>
                  <a:gd name="T68" fmla="*/ 1202 w 2060"/>
                  <a:gd name="T69" fmla="*/ 2823 h 2844"/>
                  <a:gd name="T70" fmla="*/ 904 w 2060"/>
                  <a:gd name="T71" fmla="*/ 2842 h 2844"/>
                  <a:gd name="T72" fmla="*/ 773 w 2060"/>
                  <a:gd name="T73" fmla="*/ 2741 h 2844"/>
                  <a:gd name="T74" fmla="*/ 616 w 2060"/>
                  <a:gd name="T75" fmla="*/ 2648 h 2844"/>
                  <a:gd name="T76" fmla="*/ 564 w 2060"/>
                  <a:gd name="T77" fmla="*/ 2549 h 2844"/>
                  <a:gd name="T78" fmla="*/ 560 w 2060"/>
                  <a:gd name="T79" fmla="*/ 2505 h 2844"/>
                  <a:gd name="T80" fmla="*/ 553 w 2060"/>
                  <a:gd name="T81" fmla="*/ 2388 h 2844"/>
                  <a:gd name="T82" fmla="*/ 546 w 2060"/>
                  <a:gd name="T83" fmla="*/ 2257 h 2844"/>
                  <a:gd name="T84" fmla="*/ 382 w 2060"/>
                  <a:gd name="T85" fmla="*/ 2057 h 2844"/>
                  <a:gd name="T86" fmla="*/ 345 w 2060"/>
                  <a:gd name="T87" fmla="*/ 1868 h 2844"/>
                  <a:gd name="T88" fmla="*/ 251 w 2060"/>
                  <a:gd name="T89" fmla="*/ 1709 h 2844"/>
                  <a:gd name="T90" fmla="*/ 139 w 2060"/>
                  <a:gd name="T91" fmla="*/ 1532 h 2844"/>
                  <a:gd name="T92" fmla="*/ 41 w 2060"/>
                  <a:gd name="T93" fmla="*/ 1299 h 2844"/>
                  <a:gd name="T94" fmla="*/ 0 w 2060"/>
                  <a:gd name="T95" fmla="*/ 989 h 2844"/>
                  <a:gd name="T96" fmla="*/ 81 w 2060"/>
                  <a:gd name="T97" fmla="*/ 605 h 2844"/>
                  <a:gd name="T98" fmla="*/ 302 w 2060"/>
                  <a:gd name="T99" fmla="*/ 291 h 2844"/>
                  <a:gd name="T100" fmla="*/ 630 w 2060"/>
                  <a:gd name="T101" fmla="*/ 79 h 2844"/>
                  <a:gd name="T102" fmla="*/ 1030 w 2060"/>
                  <a:gd name="T103" fmla="*/ 0 h 2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60" h="2844">
                    <a:moveTo>
                      <a:pt x="1030" y="259"/>
                    </a:moveTo>
                    <a:lnTo>
                      <a:pt x="960" y="262"/>
                    </a:lnTo>
                    <a:lnTo>
                      <a:pt x="891" y="271"/>
                    </a:lnTo>
                    <a:lnTo>
                      <a:pt x="826" y="286"/>
                    </a:lnTo>
                    <a:lnTo>
                      <a:pt x="762" y="305"/>
                    </a:lnTo>
                    <a:lnTo>
                      <a:pt x="700" y="330"/>
                    </a:lnTo>
                    <a:lnTo>
                      <a:pt x="641" y="360"/>
                    </a:lnTo>
                    <a:lnTo>
                      <a:pt x="586" y="393"/>
                    </a:lnTo>
                    <a:lnTo>
                      <a:pt x="535" y="431"/>
                    </a:lnTo>
                    <a:lnTo>
                      <a:pt x="486" y="474"/>
                    </a:lnTo>
                    <a:lnTo>
                      <a:pt x="441" y="519"/>
                    </a:lnTo>
                    <a:lnTo>
                      <a:pt x="402" y="569"/>
                    </a:lnTo>
                    <a:lnTo>
                      <a:pt x="366" y="622"/>
                    </a:lnTo>
                    <a:lnTo>
                      <a:pt x="335" y="677"/>
                    </a:lnTo>
                    <a:lnTo>
                      <a:pt x="309" y="735"/>
                    </a:lnTo>
                    <a:lnTo>
                      <a:pt x="288" y="796"/>
                    </a:lnTo>
                    <a:lnTo>
                      <a:pt x="273" y="858"/>
                    </a:lnTo>
                    <a:lnTo>
                      <a:pt x="264" y="923"/>
                    </a:lnTo>
                    <a:lnTo>
                      <a:pt x="261" y="989"/>
                    </a:lnTo>
                    <a:lnTo>
                      <a:pt x="263" y="1051"/>
                    </a:lnTo>
                    <a:lnTo>
                      <a:pt x="268" y="1108"/>
                    </a:lnTo>
                    <a:lnTo>
                      <a:pt x="277" y="1161"/>
                    </a:lnTo>
                    <a:lnTo>
                      <a:pt x="288" y="1212"/>
                    </a:lnTo>
                    <a:lnTo>
                      <a:pt x="302" y="1260"/>
                    </a:lnTo>
                    <a:lnTo>
                      <a:pt x="318" y="1304"/>
                    </a:lnTo>
                    <a:lnTo>
                      <a:pt x="336" y="1346"/>
                    </a:lnTo>
                    <a:lnTo>
                      <a:pt x="356" y="1386"/>
                    </a:lnTo>
                    <a:lnTo>
                      <a:pt x="377" y="1424"/>
                    </a:lnTo>
                    <a:lnTo>
                      <a:pt x="399" y="1460"/>
                    </a:lnTo>
                    <a:lnTo>
                      <a:pt x="420" y="1495"/>
                    </a:lnTo>
                    <a:lnTo>
                      <a:pt x="444" y="1529"/>
                    </a:lnTo>
                    <a:lnTo>
                      <a:pt x="465" y="1562"/>
                    </a:lnTo>
                    <a:lnTo>
                      <a:pt x="490" y="1599"/>
                    </a:lnTo>
                    <a:lnTo>
                      <a:pt x="515" y="1636"/>
                    </a:lnTo>
                    <a:lnTo>
                      <a:pt x="538" y="1673"/>
                    </a:lnTo>
                    <a:lnTo>
                      <a:pt x="560" y="1710"/>
                    </a:lnTo>
                    <a:lnTo>
                      <a:pt x="578" y="1749"/>
                    </a:lnTo>
                    <a:lnTo>
                      <a:pt x="593" y="1788"/>
                    </a:lnTo>
                    <a:lnTo>
                      <a:pt x="604" y="1829"/>
                    </a:lnTo>
                    <a:lnTo>
                      <a:pt x="612" y="1872"/>
                    </a:lnTo>
                    <a:lnTo>
                      <a:pt x="614" y="1918"/>
                    </a:lnTo>
                    <a:lnTo>
                      <a:pt x="617" y="1943"/>
                    </a:lnTo>
                    <a:lnTo>
                      <a:pt x="627" y="1967"/>
                    </a:lnTo>
                    <a:lnTo>
                      <a:pt x="639" y="1990"/>
                    </a:lnTo>
                    <a:lnTo>
                      <a:pt x="656" y="2010"/>
                    </a:lnTo>
                    <a:lnTo>
                      <a:pt x="674" y="2028"/>
                    </a:lnTo>
                    <a:lnTo>
                      <a:pt x="694" y="2043"/>
                    </a:lnTo>
                    <a:lnTo>
                      <a:pt x="712" y="2057"/>
                    </a:lnTo>
                    <a:lnTo>
                      <a:pt x="1348" y="2057"/>
                    </a:lnTo>
                    <a:lnTo>
                      <a:pt x="1366" y="2043"/>
                    </a:lnTo>
                    <a:lnTo>
                      <a:pt x="1385" y="2028"/>
                    </a:lnTo>
                    <a:lnTo>
                      <a:pt x="1404" y="2010"/>
                    </a:lnTo>
                    <a:lnTo>
                      <a:pt x="1420" y="1990"/>
                    </a:lnTo>
                    <a:lnTo>
                      <a:pt x="1433" y="1967"/>
                    </a:lnTo>
                    <a:lnTo>
                      <a:pt x="1443" y="1943"/>
                    </a:lnTo>
                    <a:lnTo>
                      <a:pt x="1446" y="1918"/>
                    </a:lnTo>
                    <a:lnTo>
                      <a:pt x="1448" y="1872"/>
                    </a:lnTo>
                    <a:lnTo>
                      <a:pt x="1455" y="1829"/>
                    </a:lnTo>
                    <a:lnTo>
                      <a:pt x="1467" y="1788"/>
                    </a:lnTo>
                    <a:lnTo>
                      <a:pt x="1482" y="1749"/>
                    </a:lnTo>
                    <a:lnTo>
                      <a:pt x="1500" y="1711"/>
                    </a:lnTo>
                    <a:lnTo>
                      <a:pt x="1521" y="1673"/>
                    </a:lnTo>
                    <a:lnTo>
                      <a:pt x="1544" y="1636"/>
                    </a:lnTo>
                    <a:lnTo>
                      <a:pt x="1568" y="1600"/>
                    </a:lnTo>
                    <a:lnTo>
                      <a:pt x="1594" y="1563"/>
                    </a:lnTo>
                    <a:lnTo>
                      <a:pt x="1616" y="1530"/>
                    </a:lnTo>
                    <a:lnTo>
                      <a:pt x="1638" y="1496"/>
                    </a:lnTo>
                    <a:lnTo>
                      <a:pt x="1661" y="1461"/>
                    </a:lnTo>
                    <a:lnTo>
                      <a:pt x="1683" y="1424"/>
                    </a:lnTo>
                    <a:lnTo>
                      <a:pt x="1703" y="1386"/>
                    </a:lnTo>
                    <a:lnTo>
                      <a:pt x="1723" y="1346"/>
                    </a:lnTo>
                    <a:lnTo>
                      <a:pt x="1741" y="1304"/>
                    </a:lnTo>
                    <a:lnTo>
                      <a:pt x="1757" y="1260"/>
                    </a:lnTo>
                    <a:lnTo>
                      <a:pt x="1771" y="1212"/>
                    </a:lnTo>
                    <a:lnTo>
                      <a:pt x="1783" y="1161"/>
                    </a:lnTo>
                    <a:lnTo>
                      <a:pt x="1791" y="1108"/>
                    </a:lnTo>
                    <a:lnTo>
                      <a:pt x="1797" y="1051"/>
                    </a:lnTo>
                    <a:lnTo>
                      <a:pt x="1799" y="989"/>
                    </a:lnTo>
                    <a:lnTo>
                      <a:pt x="1796" y="923"/>
                    </a:lnTo>
                    <a:lnTo>
                      <a:pt x="1787" y="858"/>
                    </a:lnTo>
                    <a:lnTo>
                      <a:pt x="1771" y="795"/>
                    </a:lnTo>
                    <a:lnTo>
                      <a:pt x="1751" y="735"/>
                    </a:lnTo>
                    <a:lnTo>
                      <a:pt x="1726" y="677"/>
                    </a:lnTo>
                    <a:lnTo>
                      <a:pt x="1694" y="621"/>
                    </a:lnTo>
                    <a:lnTo>
                      <a:pt x="1659" y="569"/>
                    </a:lnTo>
                    <a:lnTo>
                      <a:pt x="1618" y="519"/>
                    </a:lnTo>
                    <a:lnTo>
                      <a:pt x="1573" y="474"/>
                    </a:lnTo>
                    <a:lnTo>
                      <a:pt x="1526" y="431"/>
                    </a:lnTo>
                    <a:lnTo>
                      <a:pt x="1473" y="392"/>
                    </a:lnTo>
                    <a:lnTo>
                      <a:pt x="1418" y="359"/>
                    </a:lnTo>
                    <a:lnTo>
                      <a:pt x="1360" y="330"/>
                    </a:lnTo>
                    <a:lnTo>
                      <a:pt x="1298" y="305"/>
                    </a:lnTo>
                    <a:lnTo>
                      <a:pt x="1234" y="286"/>
                    </a:lnTo>
                    <a:lnTo>
                      <a:pt x="1168" y="271"/>
                    </a:lnTo>
                    <a:lnTo>
                      <a:pt x="1100" y="262"/>
                    </a:lnTo>
                    <a:lnTo>
                      <a:pt x="1030" y="259"/>
                    </a:lnTo>
                    <a:close/>
                    <a:moveTo>
                      <a:pt x="1030" y="0"/>
                    </a:moveTo>
                    <a:lnTo>
                      <a:pt x="1114" y="4"/>
                    </a:lnTo>
                    <a:lnTo>
                      <a:pt x="1197" y="14"/>
                    </a:lnTo>
                    <a:lnTo>
                      <a:pt x="1277" y="30"/>
                    </a:lnTo>
                    <a:lnTo>
                      <a:pt x="1355" y="51"/>
                    </a:lnTo>
                    <a:lnTo>
                      <a:pt x="1430" y="79"/>
                    </a:lnTo>
                    <a:lnTo>
                      <a:pt x="1502" y="111"/>
                    </a:lnTo>
                    <a:lnTo>
                      <a:pt x="1571" y="149"/>
                    </a:lnTo>
                    <a:lnTo>
                      <a:pt x="1637" y="192"/>
                    </a:lnTo>
                    <a:lnTo>
                      <a:pt x="1699" y="239"/>
                    </a:lnTo>
                    <a:lnTo>
                      <a:pt x="1757" y="291"/>
                    </a:lnTo>
                    <a:lnTo>
                      <a:pt x="1811" y="346"/>
                    </a:lnTo>
                    <a:lnTo>
                      <a:pt x="1861" y="406"/>
                    </a:lnTo>
                    <a:lnTo>
                      <a:pt x="1905" y="468"/>
                    </a:lnTo>
                    <a:lnTo>
                      <a:pt x="1945" y="535"/>
                    </a:lnTo>
                    <a:lnTo>
                      <a:pt x="1979" y="605"/>
                    </a:lnTo>
                    <a:lnTo>
                      <a:pt x="2006" y="678"/>
                    </a:lnTo>
                    <a:lnTo>
                      <a:pt x="2030" y="752"/>
                    </a:lnTo>
                    <a:lnTo>
                      <a:pt x="2046" y="829"/>
                    </a:lnTo>
                    <a:lnTo>
                      <a:pt x="2056" y="908"/>
                    </a:lnTo>
                    <a:lnTo>
                      <a:pt x="2060" y="989"/>
                    </a:lnTo>
                    <a:lnTo>
                      <a:pt x="2057" y="1058"/>
                    </a:lnTo>
                    <a:lnTo>
                      <a:pt x="2052" y="1123"/>
                    </a:lnTo>
                    <a:lnTo>
                      <a:pt x="2044" y="1185"/>
                    </a:lnTo>
                    <a:lnTo>
                      <a:pt x="2032" y="1244"/>
                    </a:lnTo>
                    <a:lnTo>
                      <a:pt x="2018" y="1299"/>
                    </a:lnTo>
                    <a:lnTo>
                      <a:pt x="2002" y="1351"/>
                    </a:lnTo>
                    <a:lnTo>
                      <a:pt x="1983" y="1400"/>
                    </a:lnTo>
                    <a:lnTo>
                      <a:pt x="1964" y="1447"/>
                    </a:lnTo>
                    <a:lnTo>
                      <a:pt x="1943" y="1490"/>
                    </a:lnTo>
                    <a:lnTo>
                      <a:pt x="1921" y="1531"/>
                    </a:lnTo>
                    <a:lnTo>
                      <a:pt x="1898" y="1571"/>
                    </a:lnTo>
                    <a:lnTo>
                      <a:pt x="1876" y="1608"/>
                    </a:lnTo>
                    <a:lnTo>
                      <a:pt x="1853" y="1643"/>
                    </a:lnTo>
                    <a:lnTo>
                      <a:pt x="1831" y="1676"/>
                    </a:lnTo>
                    <a:lnTo>
                      <a:pt x="1809" y="1708"/>
                    </a:lnTo>
                    <a:lnTo>
                      <a:pt x="1783" y="1747"/>
                    </a:lnTo>
                    <a:lnTo>
                      <a:pt x="1760" y="1782"/>
                    </a:lnTo>
                    <a:lnTo>
                      <a:pt x="1740" y="1813"/>
                    </a:lnTo>
                    <a:lnTo>
                      <a:pt x="1726" y="1842"/>
                    </a:lnTo>
                    <a:lnTo>
                      <a:pt x="1715" y="1868"/>
                    </a:lnTo>
                    <a:lnTo>
                      <a:pt x="1707" y="1893"/>
                    </a:lnTo>
                    <a:lnTo>
                      <a:pt x="1705" y="1918"/>
                    </a:lnTo>
                    <a:lnTo>
                      <a:pt x="1702" y="1965"/>
                    </a:lnTo>
                    <a:lnTo>
                      <a:pt x="1693" y="2012"/>
                    </a:lnTo>
                    <a:lnTo>
                      <a:pt x="1678" y="2057"/>
                    </a:lnTo>
                    <a:lnTo>
                      <a:pt x="1655" y="2102"/>
                    </a:lnTo>
                    <a:lnTo>
                      <a:pt x="1629" y="2144"/>
                    </a:lnTo>
                    <a:lnTo>
                      <a:pt x="1596" y="2184"/>
                    </a:lnTo>
                    <a:lnTo>
                      <a:pt x="1557" y="2222"/>
                    </a:lnTo>
                    <a:lnTo>
                      <a:pt x="1514" y="2257"/>
                    </a:lnTo>
                    <a:lnTo>
                      <a:pt x="1513" y="2278"/>
                    </a:lnTo>
                    <a:lnTo>
                      <a:pt x="1512" y="2303"/>
                    </a:lnTo>
                    <a:lnTo>
                      <a:pt x="1510" y="2331"/>
                    </a:lnTo>
                    <a:lnTo>
                      <a:pt x="1509" y="2359"/>
                    </a:lnTo>
                    <a:lnTo>
                      <a:pt x="1506" y="2388"/>
                    </a:lnTo>
                    <a:lnTo>
                      <a:pt x="1505" y="2416"/>
                    </a:lnTo>
                    <a:lnTo>
                      <a:pt x="1503" y="2444"/>
                    </a:lnTo>
                    <a:lnTo>
                      <a:pt x="1502" y="2468"/>
                    </a:lnTo>
                    <a:lnTo>
                      <a:pt x="1501" y="2488"/>
                    </a:lnTo>
                    <a:lnTo>
                      <a:pt x="1500" y="2505"/>
                    </a:lnTo>
                    <a:lnTo>
                      <a:pt x="1500" y="2516"/>
                    </a:lnTo>
                    <a:lnTo>
                      <a:pt x="1499" y="2519"/>
                    </a:lnTo>
                    <a:lnTo>
                      <a:pt x="1499" y="2532"/>
                    </a:lnTo>
                    <a:lnTo>
                      <a:pt x="1497" y="2546"/>
                    </a:lnTo>
                    <a:lnTo>
                      <a:pt x="1493" y="2562"/>
                    </a:lnTo>
                    <a:lnTo>
                      <a:pt x="1487" y="2579"/>
                    </a:lnTo>
                    <a:lnTo>
                      <a:pt x="1479" y="2598"/>
                    </a:lnTo>
                    <a:lnTo>
                      <a:pt x="1468" y="2616"/>
                    </a:lnTo>
                    <a:lnTo>
                      <a:pt x="1454" y="2635"/>
                    </a:lnTo>
                    <a:lnTo>
                      <a:pt x="1437" y="2655"/>
                    </a:lnTo>
                    <a:lnTo>
                      <a:pt x="1416" y="2673"/>
                    </a:lnTo>
                    <a:lnTo>
                      <a:pt x="1390" y="2692"/>
                    </a:lnTo>
                    <a:lnTo>
                      <a:pt x="1361" y="2709"/>
                    </a:lnTo>
                    <a:lnTo>
                      <a:pt x="1327" y="2726"/>
                    </a:lnTo>
                    <a:lnTo>
                      <a:pt x="1286" y="2741"/>
                    </a:lnTo>
                    <a:lnTo>
                      <a:pt x="1263" y="2770"/>
                    </a:lnTo>
                    <a:lnTo>
                      <a:pt x="1234" y="2798"/>
                    </a:lnTo>
                    <a:lnTo>
                      <a:pt x="1202" y="2823"/>
                    </a:lnTo>
                    <a:lnTo>
                      <a:pt x="1180" y="2835"/>
                    </a:lnTo>
                    <a:lnTo>
                      <a:pt x="1155" y="2842"/>
                    </a:lnTo>
                    <a:lnTo>
                      <a:pt x="1130" y="2844"/>
                    </a:lnTo>
                    <a:lnTo>
                      <a:pt x="930" y="2844"/>
                    </a:lnTo>
                    <a:lnTo>
                      <a:pt x="904" y="2842"/>
                    </a:lnTo>
                    <a:lnTo>
                      <a:pt x="880" y="2835"/>
                    </a:lnTo>
                    <a:lnTo>
                      <a:pt x="857" y="2823"/>
                    </a:lnTo>
                    <a:lnTo>
                      <a:pt x="826" y="2798"/>
                    </a:lnTo>
                    <a:lnTo>
                      <a:pt x="797" y="2770"/>
                    </a:lnTo>
                    <a:lnTo>
                      <a:pt x="773" y="2741"/>
                    </a:lnTo>
                    <a:lnTo>
                      <a:pt x="731" y="2724"/>
                    </a:lnTo>
                    <a:lnTo>
                      <a:pt x="695" y="2707"/>
                    </a:lnTo>
                    <a:lnTo>
                      <a:pt x="663" y="2688"/>
                    </a:lnTo>
                    <a:lnTo>
                      <a:pt x="637" y="2668"/>
                    </a:lnTo>
                    <a:lnTo>
                      <a:pt x="616" y="2648"/>
                    </a:lnTo>
                    <a:lnTo>
                      <a:pt x="599" y="2627"/>
                    </a:lnTo>
                    <a:lnTo>
                      <a:pt x="586" y="2607"/>
                    </a:lnTo>
                    <a:lnTo>
                      <a:pt x="576" y="2586"/>
                    </a:lnTo>
                    <a:lnTo>
                      <a:pt x="569" y="2567"/>
                    </a:lnTo>
                    <a:lnTo>
                      <a:pt x="564" y="2549"/>
                    </a:lnTo>
                    <a:lnTo>
                      <a:pt x="562" y="2534"/>
                    </a:lnTo>
                    <a:lnTo>
                      <a:pt x="561" y="2519"/>
                    </a:lnTo>
                    <a:lnTo>
                      <a:pt x="561" y="2519"/>
                    </a:lnTo>
                    <a:lnTo>
                      <a:pt x="561" y="2516"/>
                    </a:lnTo>
                    <a:lnTo>
                      <a:pt x="560" y="2505"/>
                    </a:lnTo>
                    <a:lnTo>
                      <a:pt x="559" y="2488"/>
                    </a:lnTo>
                    <a:lnTo>
                      <a:pt x="557" y="2468"/>
                    </a:lnTo>
                    <a:lnTo>
                      <a:pt x="556" y="2444"/>
                    </a:lnTo>
                    <a:lnTo>
                      <a:pt x="554" y="2416"/>
                    </a:lnTo>
                    <a:lnTo>
                      <a:pt x="553" y="2388"/>
                    </a:lnTo>
                    <a:lnTo>
                      <a:pt x="551" y="2359"/>
                    </a:lnTo>
                    <a:lnTo>
                      <a:pt x="550" y="2331"/>
                    </a:lnTo>
                    <a:lnTo>
                      <a:pt x="548" y="2303"/>
                    </a:lnTo>
                    <a:lnTo>
                      <a:pt x="547" y="2278"/>
                    </a:lnTo>
                    <a:lnTo>
                      <a:pt x="546" y="2257"/>
                    </a:lnTo>
                    <a:lnTo>
                      <a:pt x="502" y="2222"/>
                    </a:lnTo>
                    <a:lnTo>
                      <a:pt x="464" y="2184"/>
                    </a:lnTo>
                    <a:lnTo>
                      <a:pt x="431" y="2144"/>
                    </a:lnTo>
                    <a:lnTo>
                      <a:pt x="404" y="2102"/>
                    </a:lnTo>
                    <a:lnTo>
                      <a:pt x="382" y="2057"/>
                    </a:lnTo>
                    <a:lnTo>
                      <a:pt x="367" y="2012"/>
                    </a:lnTo>
                    <a:lnTo>
                      <a:pt x="357" y="1965"/>
                    </a:lnTo>
                    <a:lnTo>
                      <a:pt x="354" y="1918"/>
                    </a:lnTo>
                    <a:lnTo>
                      <a:pt x="352" y="1893"/>
                    </a:lnTo>
                    <a:lnTo>
                      <a:pt x="345" y="1868"/>
                    </a:lnTo>
                    <a:lnTo>
                      <a:pt x="334" y="1842"/>
                    </a:lnTo>
                    <a:lnTo>
                      <a:pt x="319" y="1813"/>
                    </a:lnTo>
                    <a:lnTo>
                      <a:pt x="300" y="1782"/>
                    </a:lnTo>
                    <a:lnTo>
                      <a:pt x="278" y="1747"/>
                    </a:lnTo>
                    <a:lnTo>
                      <a:pt x="251" y="1709"/>
                    </a:lnTo>
                    <a:lnTo>
                      <a:pt x="230" y="1677"/>
                    </a:lnTo>
                    <a:lnTo>
                      <a:pt x="207" y="1643"/>
                    </a:lnTo>
                    <a:lnTo>
                      <a:pt x="184" y="1608"/>
                    </a:lnTo>
                    <a:lnTo>
                      <a:pt x="162" y="1571"/>
                    </a:lnTo>
                    <a:lnTo>
                      <a:pt x="139" y="1532"/>
                    </a:lnTo>
                    <a:lnTo>
                      <a:pt x="117" y="1490"/>
                    </a:lnTo>
                    <a:lnTo>
                      <a:pt x="96" y="1447"/>
                    </a:lnTo>
                    <a:lnTo>
                      <a:pt x="77" y="1400"/>
                    </a:lnTo>
                    <a:lnTo>
                      <a:pt x="57" y="1351"/>
                    </a:lnTo>
                    <a:lnTo>
                      <a:pt x="41" y="1299"/>
                    </a:lnTo>
                    <a:lnTo>
                      <a:pt x="28" y="1244"/>
                    </a:lnTo>
                    <a:lnTo>
                      <a:pt x="16" y="1185"/>
                    </a:lnTo>
                    <a:lnTo>
                      <a:pt x="7" y="1123"/>
                    </a:lnTo>
                    <a:lnTo>
                      <a:pt x="2" y="1058"/>
                    </a:lnTo>
                    <a:lnTo>
                      <a:pt x="0" y="989"/>
                    </a:lnTo>
                    <a:lnTo>
                      <a:pt x="3" y="908"/>
                    </a:lnTo>
                    <a:lnTo>
                      <a:pt x="14" y="829"/>
                    </a:lnTo>
                    <a:lnTo>
                      <a:pt x="30" y="752"/>
                    </a:lnTo>
                    <a:lnTo>
                      <a:pt x="53" y="678"/>
                    </a:lnTo>
                    <a:lnTo>
                      <a:pt x="81" y="605"/>
                    </a:lnTo>
                    <a:lnTo>
                      <a:pt x="115" y="535"/>
                    </a:lnTo>
                    <a:lnTo>
                      <a:pt x="154" y="468"/>
                    </a:lnTo>
                    <a:lnTo>
                      <a:pt x="199" y="406"/>
                    </a:lnTo>
                    <a:lnTo>
                      <a:pt x="249" y="346"/>
                    </a:lnTo>
                    <a:lnTo>
                      <a:pt x="302" y="291"/>
                    </a:lnTo>
                    <a:lnTo>
                      <a:pt x="361" y="239"/>
                    </a:lnTo>
                    <a:lnTo>
                      <a:pt x="422" y="192"/>
                    </a:lnTo>
                    <a:lnTo>
                      <a:pt x="488" y="149"/>
                    </a:lnTo>
                    <a:lnTo>
                      <a:pt x="557" y="111"/>
                    </a:lnTo>
                    <a:lnTo>
                      <a:pt x="630" y="79"/>
                    </a:lnTo>
                    <a:lnTo>
                      <a:pt x="705" y="51"/>
                    </a:lnTo>
                    <a:lnTo>
                      <a:pt x="783" y="30"/>
                    </a:lnTo>
                    <a:lnTo>
                      <a:pt x="863" y="14"/>
                    </a:lnTo>
                    <a:lnTo>
                      <a:pt x="946" y="4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28"/>
              <p:cNvSpPr>
                <a:spLocks/>
              </p:cNvSpPr>
              <p:nvPr/>
            </p:nvSpPr>
            <p:spPr bwMode="auto">
              <a:xfrm>
                <a:off x="6847100" y="1278603"/>
                <a:ext cx="14287" cy="36513"/>
              </a:xfrm>
              <a:custGeom>
                <a:avLst/>
                <a:gdLst>
                  <a:gd name="T0" fmla="*/ 65 w 130"/>
                  <a:gd name="T1" fmla="*/ 0 h 322"/>
                  <a:gd name="T2" fmla="*/ 65 w 130"/>
                  <a:gd name="T3" fmla="*/ 0 h 322"/>
                  <a:gd name="T4" fmla="*/ 82 w 130"/>
                  <a:gd name="T5" fmla="*/ 2 h 322"/>
                  <a:gd name="T6" fmla="*/ 98 w 130"/>
                  <a:gd name="T7" fmla="*/ 8 h 322"/>
                  <a:gd name="T8" fmla="*/ 111 w 130"/>
                  <a:gd name="T9" fmla="*/ 19 h 322"/>
                  <a:gd name="T10" fmla="*/ 121 w 130"/>
                  <a:gd name="T11" fmla="*/ 32 h 322"/>
                  <a:gd name="T12" fmla="*/ 128 w 130"/>
                  <a:gd name="T13" fmla="*/ 47 h 322"/>
                  <a:gd name="T14" fmla="*/ 130 w 130"/>
                  <a:gd name="T15" fmla="*/ 64 h 322"/>
                  <a:gd name="T16" fmla="*/ 130 w 130"/>
                  <a:gd name="T17" fmla="*/ 258 h 322"/>
                  <a:gd name="T18" fmla="*/ 128 w 130"/>
                  <a:gd name="T19" fmla="*/ 276 h 322"/>
                  <a:gd name="T20" fmla="*/ 121 w 130"/>
                  <a:gd name="T21" fmla="*/ 290 h 322"/>
                  <a:gd name="T22" fmla="*/ 111 w 130"/>
                  <a:gd name="T23" fmla="*/ 304 h 322"/>
                  <a:gd name="T24" fmla="*/ 98 w 130"/>
                  <a:gd name="T25" fmla="*/ 314 h 322"/>
                  <a:gd name="T26" fmla="*/ 82 w 130"/>
                  <a:gd name="T27" fmla="*/ 320 h 322"/>
                  <a:gd name="T28" fmla="*/ 65 w 130"/>
                  <a:gd name="T29" fmla="*/ 322 h 322"/>
                  <a:gd name="T30" fmla="*/ 48 w 130"/>
                  <a:gd name="T31" fmla="*/ 320 h 322"/>
                  <a:gd name="T32" fmla="*/ 32 w 130"/>
                  <a:gd name="T33" fmla="*/ 314 h 322"/>
                  <a:gd name="T34" fmla="*/ 19 w 130"/>
                  <a:gd name="T35" fmla="*/ 304 h 322"/>
                  <a:gd name="T36" fmla="*/ 8 w 130"/>
                  <a:gd name="T37" fmla="*/ 290 h 322"/>
                  <a:gd name="T38" fmla="*/ 2 w 130"/>
                  <a:gd name="T39" fmla="*/ 276 h 322"/>
                  <a:gd name="T40" fmla="*/ 0 w 130"/>
                  <a:gd name="T41" fmla="*/ 258 h 322"/>
                  <a:gd name="T42" fmla="*/ 0 w 130"/>
                  <a:gd name="T43" fmla="*/ 64 h 322"/>
                  <a:gd name="T44" fmla="*/ 2 w 130"/>
                  <a:gd name="T45" fmla="*/ 47 h 322"/>
                  <a:gd name="T46" fmla="*/ 8 w 130"/>
                  <a:gd name="T47" fmla="*/ 32 h 322"/>
                  <a:gd name="T48" fmla="*/ 19 w 130"/>
                  <a:gd name="T49" fmla="*/ 19 h 322"/>
                  <a:gd name="T50" fmla="*/ 32 w 130"/>
                  <a:gd name="T51" fmla="*/ 8 h 322"/>
                  <a:gd name="T52" fmla="*/ 48 w 130"/>
                  <a:gd name="T53" fmla="*/ 2 h 322"/>
                  <a:gd name="T54" fmla="*/ 65 w 130"/>
                  <a:gd name="T5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322">
                    <a:moveTo>
                      <a:pt x="65" y="0"/>
                    </a:moveTo>
                    <a:lnTo>
                      <a:pt x="65" y="0"/>
                    </a:lnTo>
                    <a:lnTo>
                      <a:pt x="82" y="2"/>
                    </a:lnTo>
                    <a:lnTo>
                      <a:pt x="98" y="8"/>
                    </a:lnTo>
                    <a:lnTo>
                      <a:pt x="111" y="19"/>
                    </a:lnTo>
                    <a:lnTo>
                      <a:pt x="121" y="32"/>
                    </a:lnTo>
                    <a:lnTo>
                      <a:pt x="128" y="47"/>
                    </a:lnTo>
                    <a:lnTo>
                      <a:pt x="130" y="64"/>
                    </a:lnTo>
                    <a:lnTo>
                      <a:pt x="130" y="258"/>
                    </a:lnTo>
                    <a:lnTo>
                      <a:pt x="128" y="276"/>
                    </a:lnTo>
                    <a:lnTo>
                      <a:pt x="121" y="290"/>
                    </a:lnTo>
                    <a:lnTo>
                      <a:pt x="111" y="304"/>
                    </a:lnTo>
                    <a:lnTo>
                      <a:pt x="98" y="314"/>
                    </a:lnTo>
                    <a:lnTo>
                      <a:pt x="82" y="320"/>
                    </a:lnTo>
                    <a:lnTo>
                      <a:pt x="65" y="322"/>
                    </a:lnTo>
                    <a:lnTo>
                      <a:pt x="48" y="320"/>
                    </a:lnTo>
                    <a:lnTo>
                      <a:pt x="32" y="314"/>
                    </a:lnTo>
                    <a:lnTo>
                      <a:pt x="19" y="304"/>
                    </a:lnTo>
                    <a:lnTo>
                      <a:pt x="8" y="290"/>
                    </a:lnTo>
                    <a:lnTo>
                      <a:pt x="2" y="276"/>
                    </a:lnTo>
                    <a:lnTo>
                      <a:pt x="0" y="258"/>
                    </a:lnTo>
                    <a:lnTo>
                      <a:pt x="0" y="64"/>
                    </a:lnTo>
                    <a:lnTo>
                      <a:pt x="2" y="47"/>
                    </a:lnTo>
                    <a:lnTo>
                      <a:pt x="8" y="32"/>
                    </a:lnTo>
                    <a:lnTo>
                      <a:pt x="19" y="19"/>
                    </a:lnTo>
                    <a:lnTo>
                      <a:pt x="32" y="8"/>
                    </a:lnTo>
                    <a:lnTo>
                      <a:pt x="48" y="2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29"/>
              <p:cNvSpPr>
                <a:spLocks/>
              </p:cNvSpPr>
              <p:nvPr/>
            </p:nvSpPr>
            <p:spPr bwMode="auto">
              <a:xfrm>
                <a:off x="6762964" y="1299241"/>
                <a:ext cx="26987" cy="34925"/>
              </a:xfrm>
              <a:custGeom>
                <a:avLst/>
                <a:gdLst>
                  <a:gd name="T0" fmla="*/ 65 w 228"/>
                  <a:gd name="T1" fmla="*/ 0 h 298"/>
                  <a:gd name="T2" fmla="*/ 82 w 228"/>
                  <a:gd name="T3" fmla="*/ 2 h 298"/>
                  <a:gd name="T4" fmla="*/ 97 w 228"/>
                  <a:gd name="T5" fmla="*/ 9 h 298"/>
                  <a:gd name="T6" fmla="*/ 111 w 228"/>
                  <a:gd name="T7" fmla="*/ 19 h 298"/>
                  <a:gd name="T8" fmla="*/ 121 w 228"/>
                  <a:gd name="T9" fmla="*/ 33 h 298"/>
                  <a:gd name="T10" fmla="*/ 219 w 228"/>
                  <a:gd name="T11" fmla="*/ 201 h 298"/>
                  <a:gd name="T12" fmla="*/ 225 w 228"/>
                  <a:gd name="T13" fmla="*/ 217 h 298"/>
                  <a:gd name="T14" fmla="*/ 228 w 228"/>
                  <a:gd name="T15" fmla="*/ 234 h 298"/>
                  <a:gd name="T16" fmla="*/ 225 w 228"/>
                  <a:gd name="T17" fmla="*/ 250 h 298"/>
                  <a:gd name="T18" fmla="*/ 219 w 228"/>
                  <a:gd name="T19" fmla="*/ 265 h 298"/>
                  <a:gd name="T20" fmla="*/ 209 w 228"/>
                  <a:gd name="T21" fmla="*/ 279 h 298"/>
                  <a:gd name="T22" fmla="*/ 196 w 228"/>
                  <a:gd name="T23" fmla="*/ 290 h 298"/>
                  <a:gd name="T24" fmla="*/ 180 w 228"/>
                  <a:gd name="T25" fmla="*/ 296 h 298"/>
                  <a:gd name="T26" fmla="*/ 163 w 228"/>
                  <a:gd name="T27" fmla="*/ 298 h 298"/>
                  <a:gd name="T28" fmla="*/ 146 w 228"/>
                  <a:gd name="T29" fmla="*/ 296 h 298"/>
                  <a:gd name="T30" fmla="*/ 131 w 228"/>
                  <a:gd name="T31" fmla="*/ 290 h 298"/>
                  <a:gd name="T32" fmla="*/ 117 w 228"/>
                  <a:gd name="T33" fmla="*/ 279 h 298"/>
                  <a:gd name="T34" fmla="*/ 106 w 228"/>
                  <a:gd name="T35" fmla="*/ 265 h 298"/>
                  <a:gd name="T36" fmla="*/ 8 w 228"/>
                  <a:gd name="T37" fmla="*/ 97 h 298"/>
                  <a:gd name="T38" fmla="*/ 2 w 228"/>
                  <a:gd name="T39" fmla="*/ 82 h 298"/>
                  <a:gd name="T40" fmla="*/ 0 w 228"/>
                  <a:gd name="T41" fmla="*/ 65 h 298"/>
                  <a:gd name="T42" fmla="*/ 2 w 228"/>
                  <a:gd name="T43" fmla="*/ 49 h 298"/>
                  <a:gd name="T44" fmla="*/ 8 w 228"/>
                  <a:gd name="T45" fmla="*/ 33 h 298"/>
                  <a:gd name="T46" fmla="*/ 19 w 228"/>
                  <a:gd name="T47" fmla="*/ 20 h 298"/>
                  <a:gd name="T48" fmla="*/ 32 w 228"/>
                  <a:gd name="T49" fmla="*/ 10 h 298"/>
                  <a:gd name="T50" fmla="*/ 49 w 228"/>
                  <a:gd name="T51" fmla="*/ 2 h 298"/>
                  <a:gd name="T52" fmla="*/ 65 w 228"/>
                  <a:gd name="T53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8" h="298">
                    <a:moveTo>
                      <a:pt x="65" y="0"/>
                    </a:moveTo>
                    <a:lnTo>
                      <a:pt x="82" y="2"/>
                    </a:lnTo>
                    <a:lnTo>
                      <a:pt x="97" y="9"/>
                    </a:lnTo>
                    <a:lnTo>
                      <a:pt x="111" y="19"/>
                    </a:lnTo>
                    <a:lnTo>
                      <a:pt x="121" y="33"/>
                    </a:lnTo>
                    <a:lnTo>
                      <a:pt x="219" y="201"/>
                    </a:lnTo>
                    <a:lnTo>
                      <a:pt x="225" y="217"/>
                    </a:lnTo>
                    <a:lnTo>
                      <a:pt x="228" y="234"/>
                    </a:lnTo>
                    <a:lnTo>
                      <a:pt x="225" y="250"/>
                    </a:lnTo>
                    <a:lnTo>
                      <a:pt x="219" y="265"/>
                    </a:lnTo>
                    <a:lnTo>
                      <a:pt x="209" y="279"/>
                    </a:lnTo>
                    <a:lnTo>
                      <a:pt x="196" y="290"/>
                    </a:lnTo>
                    <a:lnTo>
                      <a:pt x="180" y="296"/>
                    </a:lnTo>
                    <a:lnTo>
                      <a:pt x="163" y="298"/>
                    </a:lnTo>
                    <a:lnTo>
                      <a:pt x="146" y="296"/>
                    </a:lnTo>
                    <a:lnTo>
                      <a:pt x="131" y="290"/>
                    </a:lnTo>
                    <a:lnTo>
                      <a:pt x="117" y="279"/>
                    </a:lnTo>
                    <a:lnTo>
                      <a:pt x="106" y="265"/>
                    </a:lnTo>
                    <a:lnTo>
                      <a:pt x="8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9"/>
                    </a:lnTo>
                    <a:lnTo>
                      <a:pt x="8" y="33"/>
                    </a:lnTo>
                    <a:lnTo>
                      <a:pt x="19" y="20"/>
                    </a:lnTo>
                    <a:lnTo>
                      <a:pt x="32" y="10"/>
                    </a:lnTo>
                    <a:lnTo>
                      <a:pt x="49" y="2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30"/>
              <p:cNvSpPr>
                <a:spLocks/>
              </p:cNvSpPr>
              <p:nvPr/>
            </p:nvSpPr>
            <p:spPr bwMode="auto">
              <a:xfrm>
                <a:off x="6702632" y="1361155"/>
                <a:ext cx="33337" cy="25400"/>
              </a:xfrm>
              <a:custGeom>
                <a:avLst/>
                <a:gdLst>
                  <a:gd name="T0" fmla="*/ 65 w 299"/>
                  <a:gd name="T1" fmla="*/ 0 h 226"/>
                  <a:gd name="T2" fmla="*/ 81 w 299"/>
                  <a:gd name="T3" fmla="*/ 2 h 226"/>
                  <a:gd name="T4" fmla="*/ 98 w 299"/>
                  <a:gd name="T5" fmla="*/ 8 h 226"/>
                  <a:gd name="T6" fmla="*/ 267 w 299"/>
                  <a:gd name="T7" fmla="*/ 104 h 226"/>
                  <a:gd name="T8" fmla="*/ 281 w 299"/>
                  <a:gd name="T9" fmla="*/ 116 h 226"/>
                  <a:gd name="T10" fmla="*/ 290 w 299"/>
                  <a:gd name="T11" fmla="*/ 129 h 226"/>
                  <a:gd name="T12" fmla="*/ 297 w 299"/>
                  <a:gd name="T13" fmla="*/ 144 h 226"/>
                  <a:gd name="T14" fmla="*/ 299 w 299"/>
                  <a:gd name="T15" fmla="*/ 160 h 226"/>
                  <a:gd name="T16" fmla="*/ 297 w 299"/>
                  <a:gd name="T17" fmla="*/ 177 h 226"/>
                  <a:gd name="T18" fmla="*/ 290 w 299"/>
                  <a:gd name="T19" fmla="*/ 193 h 226"/>
                  <a:gd name="T20" fmla="*/ 280 w 299"/>
                  <a:gd name="T21" fmla="*/ 207 h 226"/>
                  <a:gd name="T22" fmla="*/ 266 w 299"/>
                  <a:gd name="T23" fmla="*/ 217 h 226"/>
                  <a:gd name="T24" fmla="*/ 250 w 299"/>
                  <a:gd name="T25" fmla="*/ 224 h 226"/>
                  <a:gd name="T26" fmla="*/ 234 w 299"/>
                  <a:gd name="T27" fmla="*/ 226 h 226"/>
                  <a:gd name="T28" fmla="*/ 217 w 299"/>
                  <a:gd name="T29" fmla="*/ 224 h 226"/>
                  <a:gd name="T30" fmla="*/ 201 w 299"/>
                  <a:gd name="T31" fmla="*/ 216 h 226"/>
                  <a:gd name="T32" fmla="*/ 32 w 299"/>
                  <a:gd name="T33" fmla="*/ 120 h 226"/>
                  <a:gd name="T34" fmla="*/ 18 w 299"/>
                  <a:gd name="T35" fmla="*/ 110 h 226"/>
                  <a:gd name="T36" fmla="*/ 8 w 299"/>
                  <a:gd name="T37" fmla="*/ 96 h 226"/>
                  <a:gd name="T38" fmla="*/ 2 w 299"/>
                  <a:gd name="T39" fmla="*/ 81 h 226"/>
                  <a:gd name="T40" fmla="*/ 0 w 299"/>
                  <a:gd name="T41" fmla="*/ 64 h 226"/>
                  <a:gd name="T42" fmla="*/ 2 w 299"/>
                  <a:gd name="T43" fmla="*/ 47 h 226"/>
                  <a:gd name="T44" fmla="*/ 8 w 299"/>
                  <a:gd name="T45" fmla="*/ 31 h 226"/>
                  <a:gd name="T46" fmla="*/ 19 w 299"/>
                  <a:gd name="T47" fmla="*/ 18 h 226"/>
                  <a:gd name="T48" fmla="*/ 33 w 299"/>
                  <a:gd name="T49" fmla="*/ 8 h 226"/>
                  <a:gd name="T50" fmla="*/ 48 w 299"/>
                  <a:gd name="T51" fmla="*/ 2 h 226"/>
                  <a:gd name="T52" fmla="*/ 65 w 299"/>
                  <a:gd name="T5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6">
                    <a:moveTo>
                      <a:pt x="65" y="0"/>
                    </a:moveTo>
                    <a:lnTo>
                      <a:pt x="81" y="2"/>
                    </a:lnTo>
                    <a:lnTo>
                      <a:pt x="98" y="8"/>
                    </a:lnTo>
                    <a:lnTo>
                      <a:pt x="267" y="104"/>
                    </a:lnTo>
                    <a:lnTo>
                      <a:pt x="281" y="116"/>
                    </a:lnTo>
                    <a:lnTo>
                      <a:pt x="290" y="129"/>
                    </a:lnTo>
                    <a:lnTo>
                      <a:pt x="297" y="144"/>
                    </a:lnTo>
                    <a:lnTo>
                      <a:pt x="299" y="160"/>
                    </a:lnTo>
                    <a:lnTo>
                      <a:pt x="297" y="177"/>
                    </a:lnTo>
                    <a:lnTo>
                      <a:pt x="290" y="193"/>
                    </a:lnTo>
                    <a:lnTo>
                      <a:pt x="280" y="207"/>
                    </a:lnTo>
                    <a:lnTo>
                      <a:pt x="266" y="217"/>
                    </a:lnTo>
                    <a:lnTo>
                      <a:pt x="250" y="224"/>
                    </a:lnTo>
                    <a:lnTo>
                      <a:pt x="234" y="226"/>
                    </a:lnTo>
                    <a:lnTo>
                      <a:pt x="217" y="224"/>
                    </a:lnTo>
                    <a:lnTo>
                      <a:pt x="201" y="216"/>
                    </a:lnTo>
                    <a:lnTo>
                      <a:pt x="32" y="120"/>
                    </a:lnTo>
                    <a:lnTo>
                      <a:pt x="18" y="110"/>
                    </a:lnTo>
                    <a:lnTo>
                      <a:pt x="8" y="96"/>
                    </a:lnTo>
                    <a:lnTo>
                      <a:pt x="2" y="81"/>
                    </a:lnTo>
                    <a:lnTo>
                      <a:pt x="0" y="64"/>
                    </a:lnTo>
                    <a:lnTo>
                      <a:pt x="2" y="47"/>
                    </a:lnTo>
                    <a:lnTo>
                      <a:pt x="8" y="31"/>
                    </a:lnTo>
                    <a:lnTo>
                      <a:pt x="19" y="18"/>
                    </a:lnTo>
                    <a:lnTo>
                      <a:pt x="33" y="8"/>
                    </a:lnTo>
                    <a:lnTo>
                      <a:pt x="48" y="2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31"/>
              <p:cNvSpPr>
                <a:spLocks/>
              </p:cNvSpPr>
              <p:nvPr/>
            </p:nvSpPr>
            <p:spPr bwMode="auto">
              <a:xfrm>
                <a:off x="6680410" y="1442115"/>
                <a:ext cx="36512" cy="15875"/>
              </a:xfrm>
              <a:custGeom>
                <a:avLst/>
                <a:gdLst>
                  <a:gd name="T0" fmla="*/ 65 w 325"/>
                  <a:gd name="T1" fmla="*/ 0 h 129"/>
                  <a:gd name="T2" fmla="*/ 261 w 325"/>
                  <a:gd name="T3" fmla="*/ 0 h 129"/>
                  <a:gd name="T4" fmla="*/ 278 w 325"/>
                  <a:gd name="T5" fmla="*/ 3 h 129"/>
                  <a:gd name="T6" fmla="*/ 294 w 325"/>
                  <a:gd name="T7" fmla="*/ 9 h 129"/>
                  <a:gd name="T8" fmla="*/ 306 w 325"/>
                  <a:gd name="T9" fmla="*/ 19 h 129"/>
                  <a:gd name="T10" fmla="*/ 317 w 325"/>
                  <a:gd name="T11" fmla="*/ 32 h 129"/>
                  <a:gd name="T12" fmla="*/ 323 w 325"/>
                  <a:gd name="T13" fmla="*/ 47 h 129"/>
                  <a:gd name="T14" fmla="*/ 325 w 325"/>
                  <a:gd name="T15" fmla="*/ 65 h 129"/>
                  <a:gd name="T16" fmla="*/ 323 w 325"/>
                  <a:gd name="T17" fmla="*/ 82 h 129"/>
                  <a:gd name="T18" fmla="*/ 317 w 325"/>
                  <a:gd name="T19" fmla="*/ 97 h 129"/>
                  <a:gd name="T20" fmla="*/ 306 w 325"/>
                  <a:gd name="T21" fmla="*/ 110 h 129"/>
                  <a:gd name="T22" fmla="*/ 294 w 325"/>
                  <a:gd name="T23" fmla="*/ 120 h 129"/>
                  <a:gd name="T24" fmla="*/ 278 w 325"/>
                  <a:gd name="T25" fmla="*/ 127 h 129"/>
                  <a:gd name="T26" fmla="*/ 261 w 325"/>
                  <a:gd name="T27" fmla="*/ 129 h 129"/>
                  <a:gd name="T28" fmla="*/ 65 w 325"/>
                  <a:gd name="T29" fmla="*/ 129 h 129"/>
                  <a:gd name="T30" fmla="*/ 48 w 325"/>
                  <a:gd name="T31" fmla="*/ 127 h 129"/>
                  <a:gd name="T32" fmla="*/ 33 w 325"/>
                  <a:gd name="T33" fmla="*/ 120 h 129"/>
                  <a:gd name="T34" fmla="*/ 19 w 325"/>
                  <a:gd name="T35" fmla="*/ 110 h 129"/>
                  <a:gd name="T36" fmla="*/ 10 w 325"/>
                  <a:gd name="T37" fmla="*/ 97 h 129"/>
                  <a:gd name="T38" fmla="*/ 2 w 325"/>
                  <a:gd name="T39" fmla="*/ 82 h 129"/>
                  <a:gd name="T40" fmla="*/ 0 w 325"/>
                  <a:gd name="T41" fmla="*/ 65 h 129"/>
                  <a:gd name="T42" fmla="*/ 2 w 325"/>
                  <a:gd name="T43" fmla="*/ 47 h 129"/>
                  <a:gd name="T44" fmla="*/ 10 w 325"/>
                  <a:gd name="T45" fmla="*/ 32 h 129"/>
                  <a:gd name="T46" fmla="*/ 19 w 325"/>
                  <a:gd name="T47" fmla="*/ 19 h 129"/>
                  <a:gd name="T48" fmla="*/ 33 w 325"/>
                  <a:gd name="T49" fmla="*/ 9 h 129"/>
                  <a:gd name="T50" fmla="*/ 48 w 325"/>
                  <a:gd name="T51" fmla="*/ 3 h 129"/>
                  <a:gd name="T52" fmla="*/ 65 w 325"/>
                  <a:gd name="T5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5" h="129">
                    <a:moveTo>
                      <a:pt x="65" y="0"/>
                    </a:moveTo>
                    <a:lnTo>
                      <a:pt x="261" y="0"/>
                    </a:lnTo>
                    <a:lnTo>
                      <a:pt x="278" y="3"/>
                    </a:lnTo>
                    <a:lnTo>
                      <a:pt x="294" y="9"/>
                    </a:lnTo>
                    <a:lnTo>
                      <a:pt x="306" y="19"/>
                    </a:lnTo>
                    <a:lnTo>
                      <a:pt x="317" y="32"/>
                    </a:lnTo>
                    <a:lnTo>
                      <a:pt x="323" y="47"/>
                    </a:lnTo>
                    <a:lnTo>
                      <a:pt x="325" y="65"/>
                    </a:lnTo>
                    <a:lnTo>
                      <a:pt x="323" y="82"/>
                    </a:lnTo>
                    <a:lnTo>
                      <a:pt x="317" y="97"/>
                    </a:lnTo>
                    <a:lnTo>
                      <a:pt x="306" y="110"/>
                    </a:lnTo>
                    <a:lnTo>
                      <a:pt x="294" y="120"/>
                    </a:lnTo>
                    <a:lnTo>
                      <a:pt x="278" y="127"/>
                    </a:lnTo>
                    <a:lnTo>
                      <a:pt x="261" y="129"/>
                    </a:lnTo>
                    <a:lnTo>
                      <a:pt x="65" y="129"/>
                    </a:lnTo>
                    <a:lnTo>
                      <a:pt x="48" y="127"/>
                    </a:lnTo>
                    <a:lnTo>
                      <a:pt x="33" y="120"/>
                    </a:lnTo>
                    <a:lnTo>
                      <a:pt x="19" y="110"/>
                    </a:lnTo>
                    <a:lnTo>
                      <a:pt x="10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7"/>
                    </a:lnTo>
                    <a:lnTo>
                      <a:pt x="10" y="32"/>
                    </a:lnTo>
                    <a:lnTo>
                      <a:pt x="19" y="19"/>
                    </a:lnTo>
                    <a:lnTo>
                      <a:pt x="33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32"/>
              <p:cNvSpPr>
                <a:spLocks/>
              </p:cNvSpPr>
              <p:nvPr/>
            </p:nvSpPr>
            <p:spPr bwMode="auto">
              <a:xfrm>
                <a:off x="6702632" y="1515140"/>
                <a:ext cx="33337" cy="25400"/>
              </a:xfrm>
              <a:custGeom>
                <a:avLst/>
                <a:gdLst>
                  <a:gd name="T0" fmla="*/ 234 w 299"/>
                  <a:gd name="T1" fmla="*/ 0 h 227"/>
                  <a:gd name="T2" fmla="*/ 251 w 299"/>
                  <a:gd name="T3" fmla="*/ 3 h 227"/>
                  <a:gd name="T4" fmla="*/ 266 w 299"/>
                  <a:gd name="T5" fmla="*/ 9 h 227"/>
                  <a:gd name="T6" fmla="*/ 280 w 299"/>
                  <a:gd name="T7" fmla="*/ 19 h 227"/>
                  <a:gd name="T8" fmla="*/ 290 w 299"/>
                  <a:gd name="T9" fmla="*/ 33 h 227"/>
                  <a:gd name="T10" fmla="*/ 297 w 299"/>
                  <a:gd name="T11" fmla="*/ 49 h 227"/>
                  <a:gd name="T12" fmla="*/ 299 w 299"/>
                  <a:gd name="T13" fmla="*/ 66 h 227"/>
                  <a:gd name="T14" fmla="*/ 297 w 299"/>
                  <a:gd name="T15" fmla="*/ 82 h 227"/>
                  <a:gd name="T16" fmla="*/ 290 w 299"/>
                  <a:gd name="T17" fmla="*/ 97 h 227"/>
                  <a:gd name="T18" fmla="*/ 280 w 299"/>
                  <a:gd name="T19" fmla="*/ 111 h 227"/>
                  <a:gd name="T20" fmla="*/ 267 w 299"/>
                  <a:gd name="T21" fmla="*/ 122 h 227"/>
                  <a:gd name="T22" fmla="*/ 98 w 299"/>
                  <a:gd name="T23" fmla="*/ 218 h 227"/>
                  <a:gd name="T24" fmla="*/ 82 w 299"/>
                  <a:gd name="T25" fmla="*/ 224 h 227"/>
                  <a:gd name="T26" fmla="*/ 65 w 299"/>
                  <a:gd name="T27" fmla="*/ 227 h 227"/>
                  <a:gd name="T28" fmla="*/ 48 w 299"/>
                  <a:gd name="T29" fmla="*/ 224 h 227"/>
                  <a:gd name="T30" fmla="*/ 33 w 299"/>
                  <a:gd name="T31" fmla="*/ 219 h 227"/>
                  <a:gd name="T32" fmla="*/ 19 w 299"/>
                  <a:gd name="T33" fmla="*/ 208 h 227"/>
                  <a:gd name="T34" fmla="*/ 8 w 299"/>
                  <a:gd name="T35" fmla="*/ 195 h 227"/>
                  <a:gd name="T36" fmla="*/ 2 w 299"/>
                  <a:gd name="T37" fmla="*/ 179 h 227"/>
                  <a:gd name="T38" fmla="*/ 0 w 299"/>
                  <a:gd name="T39" fmla="*/ 162 h 227"/>
                  <a:gd name="T40" fmla="*/ 2 w 299"/>
                  <a:gd name="T41" fmla="*/ 146 h 227"/>
                  <a:gd name="T42" fmla="*/ 8 w 299"/>
                  <a:gd name="T43" fmla="*/ 130 h 227"/>
                  <a:gd name="T44" fmla="*/ 18 w 299"/>
                  <a:gd name="T45" fmla="*/ 117 h 227"/>
                  <a:gd name="T46" fmla="*/ 32 w 299"/>
                  <a:gd name="T47" fmla="*/ 107 h 227"/>
                  <a:gd name="T48" fmla="*/ 201 w 299"/>
                  <a:gd name="T49" fmla="*/ 10 h 227"/>
                  <a:gd name="T50" fmla="*/ 218 w 299"/>
                  <a:gd name="T51" fmla="*/ 2 h 227"/>
                  <a:gd name="T52" fmla="*/ 234 w 299"/>
                  <a:gd name="T53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7">
                    <a:moveTo>
                      <a:pt x="234" y="0"/>
                    </a:moveTo>
                    <a:lnTo>
                      <a:pt x="251" y="3"/>
                    </a:lnTo>
                    <a:lnTo>
                      <a:pt x="266" y="9"/>
                    </a:lnTo>
                    <a:lnTo>
                      <a:pt x="280" y="19"/>
                    </a:lnTo>
                    <a:lnTo>
                      <a:pt x="290" y="33"/>
                    </a:lnTo>
                    <a:lnTo>
                      <a:pt x="297" y="49"/>
                    </a:lnTo>
                    <a:lnTo>
                      <a:pt x="299" y="66"/>
                    </a:lnTo>
                    <a:lnTo>
                      <a:pt x="297" y="82"/>
                    </a:lnTo>
                    <a:lnTo>
                      <a:pt x="290" y="97"/>
                    </a:lnTo>
                    <a:lnTo>
                      <a:pt x="280" y="111"/>
                    </a:lnTo>
                    <a:lnTo>
                      <a:pt x="267" y="122"/>
                    </a:lnTo>
                    <a:lnTo>
                      <a:pt x="98" y="218"/>
                    </a:lnTo>
                    <a:lnTo>
                      <a:pt x="82" y="224"/>
                    </a:lnTo>
                    <a:lnTo>
                      <a:pt x="65" y="227"/>
                    </a:lnTo>
                    <a:lnTo>
                      <a:pt x="48" y="224"/>
                    </a:lnTo>
                    <a:lnTo>
                      <a:pt x="33" y="219"/>
                    </a:lnTo>
                    <a:lnTo>
                      <a:pt x="19" y="208"/>
                    </a:lnTo>
                    <a:lnTo>
                      <a:pt x="8" y="195"/>
                    </a:lnTo>
                    <a:lnTo>
                      <a:pt x="2" y="179"/>
                    </a:lnTo>
                    <a:lnTo>
                      <a:pt x="0" y="162"/>
                    </a:lnTo>
                    <a:lnTo>
                      <a:pt x="2" y="146"/>
                    </a:lnTo>
                    <a:lnTo>
                      <a:pt x="8" y="130"/>
                    </a:lnTo>
                    <a:lnTo>
                      <a:pt x="18" y="117"/>
                    </a:lnTo>
                    <a:lnTo>
                      <a:pt x="32" y="107"/>
                    </a:lnTo>
                    <a:lnTo>
                      <a:pt x="201" y="10"/>
                    </a:lnTo>
                    <a:lnTo>
                      <a:pt x="218" y="2"/>
                    </a:lnTo>
                    <a:lnTo>
                      <a:pt x="234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33"/>
              <p:cNvSpPr>
                <a:spLocks/>
              </p:cNvSpPr>
              <p:nvPr/>
            </p:nvSpPr>
            <p:spPr bwMode="auto">
              <a:xfrm>
                <a:off x="6970918" y="1515140"/>
                <a:ext cx="34925" cy="25400"/>
              </a:xfrm>
              <a:custGeom>
                <a:avLst/>
                <a:gdLst>
                  <a:gd name="T0" fmla="*/ 65 w 299"/>
                  <a:gd name="T1" fmla="*/ 0 h 227"/>
                  <a:gd name="T2" fmla="*/ 82 w 299"/>
                  <a:gd name="T3" fmla="*/ 2 h 227"/>
                  <a:gd name="T4" fmla="*/ 98 w 299"/>
                  <a:gd name="T5" fmla="*/ 10 h 227"/>
                  <a:gd name="T6" fmla="*/ 267 w 299"/>
                  <a:gd name="T7" fmla="*/ 107 h 227"/>
                  <a:gd name="T8" fmla="*/ 281 w 299"/>
                  <a:gd name="T9" fmla="*/ 117 h 227"/>
                  <a:gd name="T10" fmla="*/ 290 w 299"/>
                  <a:gd name="T11" fmla="*/ 130 h 227"/>
                  <a:gd name="T12" fmla="*/ 297 w 299"/>
                  <a:gd name="T13" fmla="*/ 146 h 227"/>
                  <a:gd name="T14" fmla="*/ 299 w 299"/>
                  <a:gd name="T15" fmla="*/ 162 h 227"/>
                  <a:gd name="T16" fmla="*/ 297 w 299"/>
                  <a:gd name="T17" fmla="*/ 179 h 227"/>
                  <a:gd name="T18" fmla="*/ 290 w 299"/>
                  <a:gd name="T19" fmla="*/ 195 h 227"/>
                  <a:gd name="T20" fmla="*/ 280 w 299"/>
                  <a:gd name="T21" fmla="*/ 208 h 227"/>
                  <a:gd name="T22" fmla="*/ 266 w 299"/>
                  <a:gd name="T23" fmla="*/ 219 h 227"/>
                  <a:gd name="T24" fmla="*/ 251 w 299"/>
                  <a:gd name="T25" fmla="*/ 224 h 227"/>
                  <a:gd name="T26" fmla="*/ 234 w 299"/>
                  <a:gd name="T27" fmla="*/ 227 h 227"/>
                  <a:gd name="T28" fmla="*/ 217 w 299"/>
                  <a:gd name="T29" fmla="*/ 224 h 227"/>
                  <a:gd name="T30" fmla="*/ 201 w 299"/>
                  <a:gd name="T31" fmla="*/ 218 h 227"/>
                  <a:gd name="T32" fmla="*/ 32 w 299"/>
                  <a:gd name="T33" fmla="*/ 122 h 227"/>
                  <a:gd name="T34" fmla="*/ 19 w 299"/>
                  <a:gd name="T35" fmla="*/ 111 h 227"/>
                  <a:gd name="T36" fmla="*/ 8 w 299"/>
                  <a:gd name="T37" fmla="*/ 97 h 227"/>
                  <a:gd name="T38" fmla="*/ 2 w 299"/>
                  <a:gd name="T39" fmla="*/ 82 h 227"/>
                  <a:gd name="T40" fmla="*/ 0 w 299"/>
                  <a:gd name="T41" fmla="*/ 66 h 227"/>
                  <a:gd name="T42" fmla="*/ 2 w 299"/>
                  <a:gd name="T43" fmla="*/ 49 h 227"/>
                  <a:gd name="T44" fmla="*/ 8 w 299"/>
                  <a:gd name="T45" fmla="*/ 33 h 227"/>
                  <a:gd name="T46" fmla="*/ 19 w 299"/>
                  <a:gd name="T47" fmla="*/ 19 h 227"/>
                  <a:gd name="T48" fmla="*/ 33 w 299"/>
                  <a:gd name="T49" fmla="*/ 9 h 227"/>
                  <a:gd name="T50" fmla="*/ 48 w 299"/>
                  <a:gd name="T51" fmla="*/ 3 h 227"/>
                  <a:gd name="T52" fmla="*/ 65 w 299"/>
                  <a:gd name="T53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7">
                    <a:moveTo>
                      <a:pt x="65" y="0"/>
                    </a:moveTo>
                    <a:lnTo>
                      <a:pt x="82" y="2"/>
                    </a:lnTo>
                    <a:lnTo>
                      <a:pt x="98" y="10"/>
                    </a:lnTo>
                    <a:lnTo>
                      <a:pt x="267" y="107"/>
                    </a:lnTo>
                    <a:lnTo>
                      <a:pt x="281" y="117"/>
                    </a:lnTo>
                    <a:lnTo>
                      <a:pt x="290" y="130"/>
                    </a:lnTo>
                    <a:lnTo>
                      <a:pt x="297" y="146"/>
                    </a:lnTo>
                    <a:lnTo>
                      <a:pt x="299" y="162"/>
                    </a:lnTo>
                    <a:lnTo>
                      <a:pt x="297" y="179"/>
                    </a:lnTo>
                    <a:lnTo>
                      <a:pt x="290" y="195"/>
                    </a:lnTo>
                    <a:lnTo>
                      <a:pt x="280" y="208"/>
                    </a:lnTo>
                    <a:lnTo>
                      <a:pt x="266" y="219"/>
                    </a:lnTo>
                    <a:lnTo>
                      <a:pt x="251" y="224"/>
                    </a:lnTo>
                    <a:lnTo>
                      <a:pt x="234" y="227"/>
                    </a:lnTo>
                    <a:lnTo>
                      <a:pt x="217" y="224"/>
                    </a:lnTo>
                    <a:lnTo>
                      <a:pt x="201" y="218"/>
                    </a:lnTo>
                    <a:lnTo>
                      <a:pt x="32" y="122"/>
                    </a:lnTo>
                    <a:lnTo>
                      <a:pt x="19" y="111"/>
                    </a:lnTo>
                    <a:lnTo>
                      <a:pt x="8" y="97"/>
                    </a:lnTo>
                    <a:lnTo>
                      <a:pt x="2" y="82"/>
                    </a:lnTo>
                    <a:lnTo>
                      <a:pt x="0" y="66"/>
                    </a:lnTo>
                    <a:lnTo>
                      <a:pt x="2" y="49"/>
                    </a:lnTo>
                    <a:lnTo>
                      <a:pt x="8" y="33"/>
                    </a:lnTo>
                    <a:lnTo>
                      <a:pt x="19" y="19"/>
                    </a:lnTo>
                    <a:lnTo>
                      <a:pt x="33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34"/>
              <p:cNvSpPr>
                <a:spLocks/>
              </p:cNvSpPr>
              <p:nvPr/>
            </p:nvSpPr>
            <p:spPr bwMode="auto">
              <a:xfrm>
                <a:off x="6989968" y="1442116"/>
                <a:ext cx="38100" cy="15875"/>
              </a:xfrm>
              <a:custGeom>
                <a:avLst/>
                <a:gdLst>
                  <a:gd name="T0" fmla="*/ 65 w 326"/>
                  <a:gd name="T1" fmla="*/ 0 h 129"/>
                  <a:gd name="T2" fmla="*/ 261 w 326"/>
                  <a:gd name="T3" fmla="*/ 0 h 129"/>
                  <a:gd name="T4" fmla="*/ 278 w 326"/>
                  <a:gd name="T5" fmla="*/ 3 h 129"/>
                  <a:gd name="T6" fmla="*/ 294 w 326"/>
                  <a:gd name="T7" fmla="*/ 9 h 129"/>
                  <a:gd name="T8" fmla="*/ 306 w 326"/>
                  <a:gd name="T9" fmla="*/ 19 h 129"/>
                  <a:gd name="T10" fmla="*/ 316 w 326"/>
                  <a:gd name="T11" fmla="*/ 32 h 129"/>
                  <a:gd name="T12" fmla="*/ 324 w 326"/>
                  <a:gd name="T13" fmla="*/ 47 h 129"/>
                  <a:gd name="T14" fmla="*/ 326 w 326"/>
                  <a:gd name="T15" fmla="*/ 65 h 129"/>
                  <a:gd name="T16" fmla="*/ 324 w 326"/>
                  <a:gd name="T17" fmla="*/ 82 h 129"/>
                  <a:gd name="T18" fmla="*/ 316 w 326"/>
                  <a:gd name="T19" fmla="*/ 97 h 129"/>
                  <a:gd name="T20" fmla="*/ 306 w 326"/>
                  <a:gd name="T21" fmla="*/ 110 h 129"/>
                  <a:gd name="T22" fmla="*/ 294 w 326"/>
                  <a:gd name="T23" fmla="*/ 120 h 129"/>
                  <a:gd name="T24" fmla="*/ 278 w 326"/>
                  <a:gd name="T25" fmla="*/ 127 h 129"/>
                  <a:gd name="T26" fmla="*/ 261 w 326"/>
                  <a:gd name="T27" fmla="*/ 129 h 129"/>
                  <a:gd name="T28" fmla="*/ 65 w 326"/>
                  <a:gd name="T29" fmla="*/ 129 h 129"/>
                  <a:gd name="T30" fmla="*/ 48 w 326"/>
                  <a:gd name="T31" fmla="*/ 127 h 129"/>
                  <a:gd name="T32" fmla="*/ 32 w 326"/>
                  <a:gd name="T33" fmla="*/ 120 h 129"/>
                  <a:gd name="T34" fmla="*/ 19 w 326"/>
                  <a:gd name="T35" fmla="*/ 110 h 129"/>
                  <a:gd name="T36" fmla="*/ 9 w 326"/>
                  <a:gd name="T37" fmla="*/ 97 h 129"/>
                  <a:gd name="T38" fmla="*/ 2 w 326"/>
                  <a:gd name="T39" fmla="*/ 82 h 129"/>
                  <a:gd name="T40" fmla="*/ 0 w 326"/>
                  <a:gd name="T41" fmla="*/ 65 h 129"/>
                  <a:gd name="T42" fmla="*/ 2 w 326"/>
                  <a:gd name="T43" fmla="*/ 47 h 129"/>
                  <a:gd name="T44" fmla="*/ 9 w 326"/>
                  <a:gd name="T45" fmla="*/ 32 h 129"/>
                  <a:gd name="T46" fmla="*/ 19 w 326"/>
                  <a:gd name="T47" fmla="*/ 19 h 129"/>
                  <a:gd name="T48" fmla="*/ 32 w 326"/>
                  <a:gd name="T49" fmla="*/ 9 h 129"/>
                  <a:gd name="T50" fmla="*/ 48 w 326"/>
                  <a:gd name="T51" fmla="*/ 3 h 129"/>
                  <a:gd name="T52" fmla="*/ 65 w 326"/>
                  <a:gd name="T5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6" h="129">
                    <a:moveTo>
                      <a:pt x="65" y="0"/>
                    </a:moveTo>
                    <a:lnTo>
                      <a:pt x="261" y="0"/>
                    </a:lnTo>
                    <a:lnTo>
                      <a:pt x="278" y="3"/>
                    </a:lnTo>
                    <a:lnTo>
                      <a:pt x="294" y="9"/>
                    </a:lnTo>
                    <a:lnTo>
                      <a:pt x="306" y="19"/>
                    </a:lnTo>
                    <a:lnTo>
                      <a:pt x="316" y="32"/>
                    </a:lnTo>
                    <a:lnTo>
                      <a:pt x="324" y="47"/>
                    </a:lnTo>
                    <a:lnTo>
                      <a:pt x="326" y="65"/>
                    </a:lnTo>
                    <a:lnTo>
                      <a:pt x="324" y="82"/>
                    </a:lnTo>
                    <a:lnTo>
                      <a:pt x="316" y="97"/>
                    </a:lnTo>
                    <a:lnTo>
                      <a:pt x="306" y="110"/>
                    </a:lnTo>
                    <a:lnTo>
                      <a:pt x="294" y="120"/>
                    </a:lnTo>
                    <a:lnTo>
                      <a:pt x="278" y="127"/>
                    </a:lnTo>
                    <a:lnTo>
                      <a:pt x="261" y="129"/>
                    </a:lnTo>
                    <a:lnTo>
                      <a:pt x="65" y="129"/>
                    </a:lnTo>
                    <a:lnTo>
                      <a:pt x="48" y="127"/>
                    </a:lnTo>
                    <a:lnTo>
                      <a:pt x="32" y="120"/>
                    </a:lnTo>
                    <a:lnTo>
                      <a:pt x="19" y="110"/>
                    </a:lnTo>
                    <a:lnTo>
                      <a:pt x="9" y="97"/>
                    </a:lnTo>
                    <a:lnTo>
                      <a:pt x="2" y="82"/>
                    </a:lnTo>
                    <a:lnTo>
                      <a:pt x="0" y="65"/>
                    </a:lnTo>
                    <a:lnTo>
                      <a:pt x="2" y="47"/>
                    </a:lnTo>
                    <a:lnTo>
                      <a:pt x="9" y="32"/>
                    </a:lnTo>
                    <a:lnTo>
                      <a:pt x="19" y="19"/>
                    </a:lnTo>
                    <a:lnTo>
                      <a:pt x="32" y="9"/>
                    </a:lnTo>
                    <a:lnTo>
                      <a:pt x="48" y="3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35"/>
              <p:cNvSpPr>
                <a:spLocks/>
              </p:cNvSpPr>
              <p:nvPr/>
            </p:nvSpPr>
            <p:spPr bwMode="auto">
              <a:xfrm>
                <a:off x="6970919" y="1361153"/>
                <a:ext cx="34925" cy="25400"/>
              </a:xfrm>
              <a:custGeom>
                <a:avLst/>
                <a:gdLst>
                  <a:gd name="T0" fmla="*/ 234 w 299"/>
                  <a:gd name="T1" fmla="*/ 0 h 226"/>
                  <a:gd name="T2" fmla="*/ 251 w 299"/>
                  <a:gd name="T3" fmla="*/ 2 h 226"/>
                  <a:gd name="T4" fmla="*/ 266 w 299"/>
                  <a:gd name="T5" fmla="*/ 8 h 226"/>
                  <a:gd name="T6" fmla="*/ 280 w 299"/>
                  <a:gd name="T7" fmla="*/ 18 h 226"/>
                  <a:gd name="T8" fmla="*/ 290 w 299"/>
                  <a:gd name="T9" fmla="*/ 31 h 226"/>
                  <a:gd name="T10" fmla="*/ 297 w 299"/>
                  <a:gd name="T11" fmla="*/ 47 h 226"/>
                  <a:gd name="T12" fmla="*/ 299 w 299"/>
                  <a:gd name="T13" fmla="*/ 64 h 226"/>
                  <a:gd name="T14" fmla="*/ 297 w 299"/>
                  <a:gd name="T15" fmla="*/ 81 h 226"/>
                  <a:gd name="T16" fmla="*/ 290 w 299"/>
                  <a:gd name="T17" fmla="*/ 96 h 226"/>
                  <a:gd name="T18" fmla="*/ 281 w 299"/>
                  <a:gd name="T19" fmla="*/ 110 h 226"/>
                  <a:gd name="T20" fmla="*/ 267 w 299"/>
                  <a:gd name="T21" fmla="*/ 120 h 226"/>
                  <a:gd name="T22" fmla="*/ 98 w 299"/>
                  <a:gd name="T23" fmla="*/ 216 h 226"/>
                  <a:gd name="T24" fmla="*/ 82 w 299"/>
                  <a:gd name="T25" fmla="*/ 224 h 226"/>
                  <a:gd name="T26" fmla="*/ 65 w 299"/>
                  <a:gd name="T27" fmla="*/ 226 h 226"/>
                  <a:gd name="T28" fmla="*/ 49 w 299"/>
                  <a:gd name="T29" fmla="*/ 224 h 226"/>
                  <a:gd name="T30" fmla="*/ 33 w 299"/>
                  <a:gd name="T31" fmla="*/ 217 h 226"/>
                  <a:gd name="T32" fmla="*/ 19 w 299"/>
                  <a:gd name="T33" fmla="*/ 207 h 226"/>
                  <a:gd name="T34" fmla="*/ 8 w 299"/>
                  <a:gd name="T35" fmla="*/ 193 h 226"/>
                  <a:gd name="T36" fmla="*/ 2 w 299"/>
                  <a:gd name="T37" fmla="*/ 177 h 226"/>
                  <a:gd name="T38" fmla="*/ 0 w 299"/>
                  <a:gd name="T39" fmla="*/ 160 h 226"/>
                  <a:gd name="T40" fmla="*/ 2 w 299"/>
                  <a:gd name="T41" fmla="*/ 144 h 226"/>
                  <a:gd name="T42" fmla="*/ 8 w 299"/>
                  <a:gd name="T43" fmla="*/ 129 h 226"/>
                  <a:gd name="T44" fmla="*/ 19 w 299"/>
                  <a:gd name="T45" fmla="*/ 116 h 226"/>
                  <a:gd name="T46" fmla="*/ 32 w 299"/>
                  <a:gd name="T47" fmla="*/ 104 h 226"/>
                  <a:gd name="T48" fmla="*/ 201 w 299"/>
                  <a:gd name="T49" fmla="*/ 8 h 226"/>
                  <a:gd name="T50" fmla="*/ 218 w 299"/>
                  <a:gd name="T51" fmla="*/ 2 h 226"/>
                  <a:gd name="T52" fmla="*/ 234 w 299"/>
                  <a:gd name="T53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9" h="226">
                    <a:moveTo>
                      <a:pt x="234" y="0"/>
                    </a:moveTo>
                    <a:lnTo>
                      <a:pt x="251" y="2"/>
                    </a:lnTo>
                    <a:lnTo>
                      <a:pt x="266" y="8"/>
                    </a:lnTo>
                    <a:lnTo>
                      <a:pt x="280" y="18"/>
                    </a:lnTo>
                    <a:lnTo>
                      <a:pt x="290" y="31"/>
                    </a:lnTo>
                    <a:lnTo>
                      <a:pt x="297" y="47"/>
                    </a:lnTo>
                    <a:lnTo>
                      <a:pt x="299" y="64"/>
                    </a:lnTo>
                    <a:lnTo>
                      <a:pt x="297" y="81"/>
                    </a:lnTo>
                    <a:lnTo>
                      <a:pt x="290" y="96"/>
                    </a:lnTo>
                    <a:lnTo>
                      <a:pt x="281" y="110"/>
                    </a:lnTo>
                    <a:lnTo>
                      <a:pt x="267" y="120"/>
                    </a:lnTo>
                    <a:lnTo>
                      <a:pt x="98" y="216"/>
                    </a:lnTo>
                    <a:lnTo>
                      <a:pt x="82" y="224"/>
                    </a:lnTo>
                    <a:lnTo>
                      <a:pt x="65" y="226"/>
                    </a:lnTo>
                    <a:lnTo>
                      <a:pt x="49" y="224"/>
                    </a:lnTo>
                    <a:lnTo>
                      <a:pt x="33" y="217"/>
                    </a:lnTo>
                    <a:lnTo>
                      <a:pt x="19" y="207"/>
                    </a:lnTo>
                    <a:lnTo>
                      <a:pt x="8" y="193"/>
                    </a:lnTo>
                    <a:lnTo>
                      <a:pt x="2" y="177"/>
                    </a:lnTo>
                    <a:lnTo>
                      <a:pt x="0" y="160"/>
                    </a:lnTo>
                    <a:lnTo>
                      <a:pt x="2" y="144"/>
                    </a:lnTo>
                    <a:lnTo>
                      <a:pt x="8" y="129"/>
                    </a:lnTo>
                    <a:lnTo>
                      <a:pt x="19" y="116"/>
                    </a:lnTo>
                    <a:lnTo>
                      <a:pt x="32" y="104"/>
                    </a:lnTo>
                    <a:lnTo>
                      <a:pt x="201" y="8"/>
                    </a:lnTo>
                    <a:lnTo>
                      <a:pt x="218" y="2"/>
                    </a:lnTo>
                    <a:lnTo>
                      <a:pt x="234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36"/>
              <p:cNvSpPr>
                <a:spLocks/>
              </p:cNvSpPr>
              <p:nvPr/>
            </p:nvSpPr>
            <p:spPr bwMode="auto">
              <a:xfrm>
                <a:off x="6918539" y="1299242"/>
                <a:ext cx="25400" cy="34925"/>
              </a:xfrm>
              <a:custGeom>
                <a:avLst/>
                <a:gdLst>
                  <a:gd name="T0" fmla="*/ 162 w 228"/>
                  <a:gd name="T1" fmla="*/ 0 h 297"/>
                  <a:gd name="T2" fmla="*/ 179 w 228"/>
                  <a:gd name="T3" fmla="*/ 2 h 297"/>
                  <a:gd name="T4" fmla="*/ 195 w 228"/>
                  <a:gd name="T5" fmla="*/ 10 h 297"/>
                  <a:gd name="T6" fmla="*/ 209 w 228"/>
                  <a:gd name="T7" fmla="*/ 20 h 297"/>
                  <a:gd name="T8" fmla="*/ 219 w 228"/>
                  <a:gd name="T9" fmla="*/ 33 h 297"/>
                  <a:gd name="T10" fmla="*/ 226 w 228"/>
                  <a:gd name="T11" fmla="*/ 49 h 297"/>
                  <a:gd name="T12" fmla="*/ 228 w 228"/>
                  <a:gd name="T13" fmla="*/ 65 h 297"/>
                  <a:gd name="T14" fmla="*/ 226 w 228"/>
                  <a:gd name="T15" fmla="*/ 82 h 297"/>
                  <a:gd name="T16" fmla="*/ 219 w 228"/>
                  <a:gd name="T17" fmla="*/ 97 h 297"/>
                  <a:gd name="T18" fmla="*/ 121 w 228"/>
                  <a:gd name="T19" fmla="*/ 265 h 297"/>
                  <a:gd name="T20" fmla="*/ 111 w 228"/>
                  <a:gd name="T21" fmla="*/ 279 h 297"/>
                  <a:gd name="T22" fmla="*/ 97 w 228"/>
                  <a:gd name="T23" fmla="*/ 290 h 297"/>
                  <a:gd name="T24" fmla="*/ 82 w 228"/>
                  <a:gd name="T25" fmla="*/ 295 h 297"/>
                  <a:gd name="T26" fmla="*/ 65 w 228"/>
                  <a:gd name="T27" fmla="*/ 297 h 297"/>
                  <a:gd name="T28" fmla="*/ 49 w 228"/>
                  <a:gd name="T29" fmla="*/ 295 h 297"/>
                  <a:gd name="T30" fmla="*/ 33 w 228"/>
                  <a:gd name="T31" fmla="*/ 289 h 297"/>
                  <a:gd name="T32" fmla="*/ 18 w 228"/>
                  <a:gd name="T33" fmla="*/ 278 h 297"/>
                  <a:gd name="T34" fmla="*/ 9 w 228"/>
                  <a:gd name="T35" fmla="*/ 265 h 297"/>
                  <a:gd name="T36" fmla="*/ 2 w 228"/>
                  <a:gd name="T37" fmla="*/ 250 h 297"/>
                  <a:gd name="T38" fmla="*/ 0 w 228"/>
                  <a:gd name="T39" fmla="*/ 234 h 297"/>
                  <a:gd name="T40" fmla="*/ 2 w 228"/>
                  <a:gd name="T41" fmla="*/ 217 h 297"/>
                  <a:gd name="T42" fmla="*/ 9 w 228"/>
                  <a:gd name="T43" fmla="*/ 201 h 297"/>
                  <a:gd name="T44" fmla="*/ 106 w 228"/>
                  <a:gd name="T45" fmla="*/ 33 h 297"/>
                  <a:gd name="T46" fmla="*/ 117 w 228"/>
                  <a:gd name="T47" fmla="*/ 19 h 297"/>
                  <a:gd name="T48" fmla="*/ 131 w 228"/>
                  <a:gd name="T49" fmla="*/ 9 h 297"/>
                  <a:gd name="T50" fmla="*/ 146 w 228"/>
                  <a:gd name="T51" fmla="*/ 2 h 297"/>
                  <a:gd name="T52" fmla="*/ 162 w 228"/>
                  <a:gd name="T53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8" h="297">
                    <a:moveTo>
                      <a:pt x="162" y="0"/>
                    </a:moveTo>
                    <a:lnTo>
                      <a:pt x="179" y="2"/>
                    </a:lnTo>
                    <a:lnTo>
                      <a:pt x="195" y="10"/>
                    </a:lnTo>
                    <a:lnTo>
                      <a:pt x="209" y="20"/>
                    </a:lnTo>
                    <a:lnTo>
                      <a:pt x="219" y="33"/>
                    </a:lnTo>
                    <a:lnTo>
                      <a:pt x="226" y="49"/>
                    </a:lnTo>
                    <a:lnTo>
                      <a:pt x="228" y="65"/>
                    </a:lnTo>
                    <a:lnTo>
                      <a:pt x="226" y="82"/>
                    </a:lnTo>
                    <a:lnTo>
                      <a:pt x="219" y="97"/>
                    </a:lnTo>
                    <a:lnTo>
                      <a:pt x="121" y="265"/>
                    </a:lnTo>
                    <a:lnTo>
                      <a:pt x="111" y="279"/>
                    </a:lnTo>
                    <a:lnTo>
                      <a:pt x="97" y="290"/>
                    </a:lnTo>
                    <a:lnTo>
                      <a:pt x="82" y="295"/>
                    </a:lnTo>
                    <a:lnTo>
                      <a:pt x="65" y="297"/>
                    </a:lnTo>
                    <a:lnTo>
                      <a:pt x="49" y="295"/>
                    </a:lnTo>
                    <a:lnTo>
                      <a:pt x="33" y="289"/>
                    </a:lnTo>
                    <a:lnTo>
                      <a:pt x="18" y="278"/>
                    </a:lnTo>
                    <a:lnTo>
                      <a:pt x="9" y="265"/>
                    </a:lnTo>
                    <a:lnTo>
                      <a:pt x="2" y="250"/>
                    </a:lnTo>
                    <a:lnTo>
                      <a:pt x="0" y="234"/>
                    </a:lnTo>
                    <a:lnTo>
                      <a:pt x="2" y="217"/>
                    </a:lnTo>
                    <a:lnTo>
                      <a:pt x="9" y="201"/>
                    </a:lnTo>
                    <a:lnTo>
                      <a:pt x="106" y="33"/>
                    </a:lnTo>
                    <a:lnTo>
                      <a:pt x="117" y="19"/>
                    </a:lnTo>
                    <a:lnTo>
                      <a:pt x="131" y="9"/>
                    </a:lnTo>
                    <a:lnTo>
                      <a:pt x="146" y="2"/>
                    </a:lnTo>
                    <a:lnTo>
                      <a:pt x="162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37"/>
              <p:cNvSpPr>
                <a:spLocks/>
              </p:cNvSpPr>
              <p:nvPr/>
            </p:nvSpPr>
            <p:spPr bwMode="auto">
              <a:xfrm>
                <a:off x="6835983" y="1388140"/>
                <a:ext cx="34925" cy="114300"/>
              </a:xfrm>
              <a:custGeom>
                <a:avLst/>
                <a:gdLst>
                  <a:gd name="T0" fmla="*/ 157 w 313"/>
                  <a:gd name="T1" fmla="*/ 0 h 1007"/>
                  <a:gd name="T2" fmla="*/ 189 w 313"/>
                  <a:gd name="T3" fmla="*/ 2 h 1007"/>
                  <a:gd name="T4" fmla="*/ 216 w 313"/>
                  <a:gd name="T5" fmla="*/ 7 h 1007"/>
                  <a:gd name="T6" fmla="*/ 242 w 313"/>
                  <a:gd name="T7" fmla="*/ 17 h 1007"/>
                  <a:gd name="T8" fmla="*/ 263 w 313"/>
                  <a:gd name="T9" fmla="*/ 31 h 1007"/>
                  <a:gd name="T10" fmla="*/ 281 w 313"/>
                  <a:gd name="T11" fmla="*/ 48 h 1007"/>
                  <a:gd name="T12" fmla="*/ 295 w 313"/>
                  <a:gd name="T13" fmla="*/ 68 h 1007"/>
                  <a:gd name="T14" fmla="*/ 306 w 313"/>
                  <a:gd name="T15" fmla="*/ 92 h 1007"/>
                  <a:gd name="T16" fmla="*/ 311 w 313"/>
                  <a:gd name="T17" fmla="*/ 120 h 1007"/>
                  <a:gd name="T18" fmla="*/ 313 w 313"/>
                  <a:gd name="T19" fmla="*/ 152 h 1007"/>
                  <a:gd name="T20" fmla="*/ 313 w 313"/>
                  <a:gd name="T21" fmla="*/ 380 h 1007"/>
                  <a:gd name="T22" fmla="*/ 312 w 313"/>
                  <a:gd name="T23" fmla="*/ 411 h 1007"/>
                  <a:gd name="T24" fmla="*/ 309 w 313"/>
                  <a:gd name="T25" fmla="*/ 442 h 1007"/>
                  <a:gd name="T26" fmla="*/ 306 w 313"/>
                  <a:gd name="T27" fmla="*/ 473 h 1007"/>
                  <a:gd name="T28" fmla="*/ 244 w 313"/>
                  <a:gd name="T29" fmla="*/ 934 h 1007"/>
                  <a:gd name="T30" fmla="*/ 240 w 313"/>
                  <a:gd name="T31" fmla="*/ 956 h 1007"/>
                  <a:gd name="T32" fmla="*/ 232 w 313"/>
                  <a:gd name="T33" fmla="*/ 974 h 1007"/>
                  <a:gd name="T34" fmla="*/ 223 w 313"/>
                  <a:gd name="T35" fmla="*/ 987 h 1007"/>
                  <a:gd name="T36" fmla="*/ 210 w 313"/>
                  <a:gd name="T37" fmla="*/ 996 h 1007"/>
                  <a:gd name="T38" fmla="*/ 195 w 313"/>
                  <a:gd name="T39" fmla="*/ 1002 h 1007"/>
                  <a:gd name="T40" fmla="*/ 177 w 313"/>
                  <a:gd name="T41" fmla="*/ 1006 h 1007"/>
                  <a:gd name="T42" fmla="*/ 157 w 313"/>
                  <a:gd name="T43" fmla="*/ 1007 h 1007"/>
                  <a:gd name="T44" fmla="*/ 137 w 313"/>
                  <a:gd name="T45" fmla="*/ 1006 h 1007"/>
                  <a:gd name="T46" fmla="*/ 118 w 313"/>
                  <a:gd name="T47" fmla="*/ 1002 h 1007"/>
                  <a:gd name="T48" fmla="*/ 104 w 313"/>
                  <a:gd name="T49" fmla="*/ 996 h 1007"/>
                  <a:gd name="T50" fmla="*/ 91 w 313"/>
                  <a:gd name="T51" fmla="*/ 987 h 1007"/>
                  <a:gd name="T52" fmla="*/ 81 w 313"/>
                  <a:gd name="T53" fmla="*/ 974 h 1007"/>
                  <a:gd name="T54" fmla="*/ 74 w 313"/>
                  <a:gd name="T55" fmla="*/ 956 h 1007"/>
                  <a:gd name="T56" fmla="*/ 70 w 313"/>
                  <a:gd name="T57" fmla="*/ 934 h 1007"/>
                  <a:gd name="T58" fmla="*/ 8 w 313"/>
                  <a:gd name="T59" fmla="*/ 473 h 1007"/>
                  <a:gd name="T60" fmla="*/ 5 w 313"/>
                  <a:gd name="T61" fmla="*/ 442 h 1007"/>
                  <a:gd name="T62" fmla="*/ 1 w 313"/>
                  <a:gd name="T63" fmla="*/ 411 h 1007"/>
                  <a:gd name="T64" fmla="*/ 0 w 313"/>
                  <a:gd name="T65" fmla="*/ 380 h 1007"/>
                  <a:gd name="T66" fmla="*/ 0 w 313"/>
                  <a:gd name="T67" fmla="*/ 152 h 1007"/>
                  <a:gd name="T68" fmla="*/ 3 w 313"/>
                  <a:gd name="T69" fmla="*/ 120 h 1007"/>
                  <a:gd name="T70" fmla="*/ 8 w 313"/>
                  <a:gd name="T71" fmla="*/ 92 h 1007"/>
                  <a:gd name="T72" fmla="*/ 18 w 313"/>
                  <a:gd name="T73" fmla="*/ 68 h 1007"/>
                  <a:gd name="T74" fmla="*/ 32 w 313"/>
                  <a:gd name="T75" fmla="*/ 48 h 1007"/>
                  <a:gd name="T76" fmla="*/ 50 w 313"/>
                  <a:gd name="T77" fmla="*/ 31 h 1007"/>
                  <a:gd name="T78" fmla="*/ 72 w 313"/>
                  <a:gd name="T79" fmla="*/ 17 h 1007"/>
                  <a:gd name="T80" fmla="*/ 97 w 313"/>
                  <a:gd name="T81" fmla="*/ 7 h 1007"/>
                  <a:gd name="T82" fmla="*/ 125 w 313"/>
                  <a:gd name="T83" fmla="*/ 2 h 1007"/>
                  <a:gd name="T84" fmla="*/ 157 w 313"/>
                  <a:gd name="T85" fmla="*/ 0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3" h="1007">
                    <a:moveTo>
                      <a:pt x="157" y="0"/>
                    </a:moveTo>
                    <a:lnTo>
                      <a:pt x="189" y="2"/>
                    </a:lnTo>
                    <a:lnTo>
                      <a:pt x="216" y="7"/>
                    </a:lnTo>
                    <a:lnTo>
                      <a:pt x="242" y="17"/>
                    </a:lnTo>
                    <a:lnTo>
                      <a:pt x="263" y="31"/>
                    </a:lnTo>
                    <a:lnTo>
                      <a:pt x="281" y="48"/>
                    </a:lnTo>
                    <a:lnTo>
                      <a:pt x="295" y="68"/>
                    </a:lnTo>
                    <a:lnTo>
                      <a:pt x="306" y="92"/>
                    </a:lnTo>
                    <a:lnTo>
                      <a:pt x="311" y="120"/>
                    </a:lnTo>
                    <a:lnTo>
                      <a:pt x="313" y="152"/>
                    </a:lnTo>
                    <a:lnTo>
                      <a:pt x="313" y="380"/>
                    </a:lnTo>
                    <a:lnTo>
                      <a:pt x="312" y="411"/>
                    </a:lnTo>
                    <a:lnTo>
                      <a:pt x="309" y="442"/>
                    </a:lnTo>
                    <a:lnTo>
                      <a:pt x="306" y="473"/>
                    </a:lnTo>
                    <a:lnTo>
                      <a:pt x="244" y="934"/>
                    </a:lnTo>
                    <a:lnTo>
                      <a:pt x="240" y="956"/>
                    </a:lnTo>
                    <a:lnTo>
                      <a:pt x="232" y="974"/>
                    </a:lnTo>
                    <a:lnTo>
                      <a:pt x="223" y="987"/>
                    </a:lnTo>
                    <a:lnTo>
                      <a:pt x="210" y="996"/>
                    </a:lnTo>
                    <a:lnTo>
                      <a:pt x="195" y="1002"/>
                    </a:lnTo>
                    <a:lnTo>
                      <a:pt x="177" y="1006"/>
                    </a:lnTo>
                    <a:lnTo>
                      <a:pt x="157" y="1007"/>
                    </a:lnTo>
                    <a:lnTo>
                      <a:pt x="137" y="1006"/>
                    </a:lnTo>
                    <a:lnTo>
                      <a:pt x="118" y="1002"/>
                    </a:lnTo>
                    <a:lnTo>
                      <a:pt x="104" y="996"/>
                    </a:lnTo>
                    <a:lnTo>
                      <a:pt x="91" y="987"/>
                    </a:lnTo>
                    <a:lnTo>
                      <a:pt x="81" y="974"/>
                    </a:lnTo>
                    <a:lnTo>
                      <a:pt x="74" y="956"/>
                    </a:lnTo>
                    <a:lnTo>
                      <a:pt x="70" y="934"/>
                    </a:lnTo>
                    <a:lnTo>
                      <a:pt x="8" y="473"/>
                    </a:lnTo>
                    <a:lnTo>
                      <a:pt x="5" y="442"/>
                    </a:lnTo>
                    <a:lnTo>
                      <a:pt x="1" y="411"/>
                    </a:lnTo>
                    <a:lnTo>
                      <a:pt x="0" y="380"/>
                    </a:lnTo>
                    <a:lnTo>
                      <a:pt x="0" y="152"/>
                    </a:lnTo>
                    <a:lnTo>
                      <a:pt x="3" y="120"/>
                    </a:lnTo>
                    <a:lnTo>
                      <a:pt x="8" y="92"/>
                    </a:lnTo>
                    <a:lnTo>
                      <a:pt x="18" y="68"/>
                    </a:lnTo>
                    <a:lnTo>
                      <a:pt x="32" y="48"/>
                    </a:lnTo>
                    <a:lnTo>
                      <a:pt x="50" y="31"/>
                    </a:lnTo>
                    <a:lnTo>
                      <a:pt x="72" y="17"/>
                    </a:lnTo>
                    <a:lnTo>
                      <a:pt x="97" y="7"/>
                    </a:lnTo>
                    <a:lnTo>
                      <a:pt x="125" y="2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38"/>
              <p:cNvSpPr>
                <a:spLocks/>
              </p:cNvSpPr>
              <p:nvPr/>
            </p:nvSpPr>
            <p:spPr bwMode="auto">
              <a:xfrm>
                <a:off x="6796938" y="1516728"/>
                <a:ext cx="36512" cy="36513"/>
              </a:xfrm>
              <a:custGeom>
                <a:avLst/>
                <a:gdLst>
                  <a:gd name="T0" fmla="*/ 163 w 326"/>
                  <a:gd name="T1" fmla="*/ 0 h 323"/>
                  <a:gd name="T2" fmla="*/ 196 w 326"/>
                  <a:gd name="T3" fmla="*/ 4 h 323"/>
                  <a:gd name="T4" fmla="*/ 226 w 326"/>
                  <a:gd name="T5" fmla="*/ 13 h 323"/>
                  <a:gd name="T6" fmla="*/ 253 w 326"/>
                  <a:gd name="T7" fmla="*/ 28 h 323"/>
                  <a:gd name="T8" fmla="*/ 278 w 326"/>
                  <a:gd name="T9" fmla="*/ 47 h 323"/>
                  <a:gd name="T10" fmla="*/ 298 w 326"/>
                  <a:gd name="T11" fmla="*/ 71 h 323"/>
                  <a:gd name="T12" fmla="*/ 313 w 326"/>
                  <a:gd name="T13" fmla="*/ 99 h 323"/>
                  <a:gd name="T14" fmla="*/ 322 w 326"/>
                  <a:gd name="T15" fmla="*/ 129 h 323"/>
                  <a:gd name="T16" fmla="*/ 326 w 326"/>
                  <a:gd name="T17" fmla="*/ 161 h 323"/>
                  <a:gd name="T18" fmla="*/ 322 w 326"/>
                  <a:gd name="T19" fmla="*/ 194 h 323"/>
                  <a:gd name="T20" fmla="*/ 313 w 326"/>
                  <a:gd name="T21" fmla="*/ 225 h 323"/>
                  <a:gd name="T22" fmla="*/ 298 w 326"/>
                  <a:gd name="T23" fmla="*/ 252 h 323"/>
                  <a:gd name="T24" fmla="*/ 278 w 326"/>
                  <a:gd name="T25" fmla="*/ 275 h 323"/>
                  <a:gd name="T26" fmla="*/ 253 w 326"/>
                  <a:gd name="T27" fmla="*/ 295 h 323"/>
                  <a:gd name="T28" fmla="*/ 226 w 326"/>
                  <a:gd name="T29" fmla="*/ 310 h 323"/>
                  <a:gd name="T30" fmla="*/ 196 w 326"/>
                  <a:gd name="T31" fmla="*/ 320 h 323"/>
                  <a:gd name="T32" fmla="*/ 163 w 326"/>
                  <a:gd name="T33" fmla="*/ 323 h 323"/>
                  <a:gd name="T34" fmla="*/ 130 w 326"/>
                  <a:gd name="T35" fmla="*/ 320 h 323"/>
                  <a:gd name="T36" fmla="*/ 100 w 326"/>
                  <a:gd name="T37" fmla="*/ 310 h 323"/>
                  <a:gd name="T38" fmla="*/ 72 w 326"/>
                  <a:gd name="T39" fmla="*/ 295 h 323"/>
                  <a:gd name="T40" fmla="*/ 48 w 326"/>
                  <a:gd name="T41" fmla="*/ 275 h 323"/>
                  <a:gd name="T42" fmla="*/ 28 w 326"/>
                  <a:gd name="T43" fmla="*/ 252 h 323"/>
                  <a:gd name="T44" fmla="*/ 13 w 326"/>
                  <a:gd name="T45" fmla="*/ 225 h 323"/>
                  <a:gd name="T46" fmla="*/ 3 w 326"/>
                  <a:gd name="T47" fmla="*/ 194 h 323"/>
                  <a:gd name="T48" fmla="*/ 0 w 326"/>
                  <a:gd name="T49" fmla="*/ 161 h 323"/>
                  <a:gd name="T50" fmla="*/ 3 w 326"/>
                  <a:gd name="T51" fmla="*/ 129 h 323"/>
                  <a:gd name="T52" fmla="*/ 13 w 326"/>
                  <a:gd name="T53" fmla="*/ 99 h 323"/>
                  <a:gd name="T54" fmla="*/ 28 w 326"/>
                  <a:gd name="T55" fmla="*/ 71 h 323"/>
                  <a:gd name="T56" fmla="*/ 48 w 326"/>
                  <a:gd name="T57" fmla="*/ 47 h 323"/>
                  <a:gd name="T58" fmla="*/ 72 w 326"/>
                  <a:gd name="T59" fmla="*/ 28 h 323"/>
                  <a:gd name="T60" fmla="*/ 100 w 326"/>
                  <a:gd name="T61" fmla="*/ 13 h 323"/>
                  <a:gd name="T62" fmla="*/ 130 w 326"/>
                  <a:gd name="T63" fmla="*/ 4 h 323"/>
                  <a:gd name="T64" fmla="*/ 163 w 326"/>
                  <a:gd name="T65" fmla="*/ 0 h 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6" h="323">
                    <a:moveTo>
                      <a:pt x="163" y="0"/>
                    </a:moveTo>
                    <a:lnTo>
                      <a:pt x="196" y="4"/>
                    </a:lnTo>
                    <a:lnTo>
                      <a:pt x="226" y="13"/>
                    </a:lnTo>
                    <a:lnTo>
                      <a:pt x="253" y="28"/>
                    </a:lnTo>
                    <a:lnTo>
                      <a:pt x="278" y="47"/>
                    </a:lnTo>
                    <a:lnTo>
                      <a:pt x="298" y="71"/>
                    </a:lnTo>
                    <a:lnTo>
                      <a:pt x="313" y="99"/>
                    </a:lnTo>
                    <a:lnTo>
                      <a:pt x="322" y="129"/>
                    </a:lnTo>
                    <a:lnTo>
                      <a:pt x="326" y="161"/>
                    </a:lnTo>
                    <a:lnTo>
                      <a:pt x="322" y="194"/>
                    </a:lnTo>
                    <a:lnTo>
                      <a:pt x="313" y="225"/>
                    </a:lnTo>
                    <a:lnTo>
                      <a:pt x="298" y="252"/>
                    </a:lnTo>
                    <a:lnTo>
                      <a:pt x="278" y="275"/>
                    </a:lnTo>
                    <a:lnTo>
                      <a:pt x="253" y="295"/>
                    </a:lnTo>
                    <a:lnTo>
                      <a:pt x="226" y="310"/>
                    </a:lnTo>
                    <a:lnTo>
                      <a:pt x="196" y="320"/>
                    </a:lnTo>
                    <a:lnTo>
                      <a:pt x="163" y="323"/>
                    </a:lnTo>
                    <a:lnTo>
                      <a:pt x="130" y="320"/>
                    </a:lnTo>
                    <a:lnTo>
                      <a:pt x="100" y="310"/>
                    </a:lnTo>
                    <a:lnTo>
                      <a:pt x="72" y="295"/>
                    </a:lnTo>
                    <a:lnTo>
                      <a:pt x="48" y="275"/>
                    </a:lnTo>
                    <a:lnTo>
                      <a:pt x="28" y="252"/>
                    </a:lnTo>
                    <a:lnTo>
                      <a:pt x="13" y="225"/>
                    </a:lnTo>
                    <a:lnTo>
                      <a:pt x="3" y="194"/>
                    </a:lnTo>
                    <a:lnTo>
                      <a:pt x="0" y="161"/>
                    </a:lnTo>
                    <a:lnTo>
                      <a:pt x="3" y="129"/>
                    </a:lnTo>
                    <a:lnTo>
                      <a:pt x="13" y="99"/>
                    </a:lnTo>
                    <a:lnTo>
                      <a:pt x="28" y="71"/>
                    </a:lnTo>
                    <a:lnTo>
                      <a:pt x="48" y="47"/>
                    </a:lnTo>
                    <a:lnTo>
                      <a:pt x="72" y="28"/>
                    </a:lnTo>
                    <a:lnTo>
                      <a:pt x="100" y="13"/>
                    </a:lnTo>
                    <a:lnTo>
                      <a:pt x="130" y="4"/>
                    </a:lnTo>
                    <a:lnTo>
                      <a:pt x="163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01" name="Oval 156"/>
          <p:cNvSpPr/>
          <p:nvPr/>
        </p:nvSpPr>
        <p:spPr>
          <a:xfrm>
            <a:off x="352103" y="1259235"/>
            <a:ext cx="992004" cy="936104"/>
          </a:xfrm>
          <a:prstGeom prst="ellips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546958" y="1174324"/>
            <a:ext cx="15627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en-US" sz="2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532806" y="2996952"/>
            <a:ext cx="22322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</a:t>
            </a:r>
            <a:endParaRPr lang="en-US" sz="2400" b="1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3923928" y="2204864"/>
            <a:ext cx="5220072" cy="0"/>
          </a:xfrm>
          <a:prstGeom prst="line">
            <a:avLst/>
          </a:prstGeom>
          <a:ln w="254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491880" y="757734"/>
            <a:ext cx="5652121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2925" indent="-276225">
              <a:spcAft>
                <a:spcPts val="1200"/>
              </a:spcAft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влечение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чественных инвесторов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компании с государственным участием;</a:t>
            </a:r>
          </a:p>
          <a:p>
            <a:pPr marL="542925" indent="-276225">
              <a:spcAft>
                <a:spcPts val="1200"/>
              </a:spcAft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кращение доли государства в экономике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 уровня стран ОЭСР - </a:t>
            </a:r>
            <a:r>
              <a:rPr lang="ru-RU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о 15% от ВВП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grpSp>
        <p:nvGrpSpPr>
          <p:cNvPr id="4" name="Group 262"/>
          <p:cNvGrpSpPr/>
          <p:nvPr/>
        </p:nvGrpSpPr>
        <p:grpSpPr>
          <a:xfrm>
            <a:off x="649660" y="1412776"/>
            <a:ext cx="391921" cy="613991"/>
            <a:chOff x="-1103313" y="2519363"/>
            <a:chExt cx="414338" cy="598488"/>
          </a:xfrm>
          <a:solidFill>
            <a:srgbClr val="00B050"/>
          </a:solidFill>
        </p:grpSpPr>
        <p:sp>
          <p:nvSpPr>
            <p:cNvPr id="111" name="Freeform 91"/>
            <p:cNvSpPr>
              <a:spLocks noEditPoints="1"/>
            </p:cNvSpPr>
            <p:nvPr/>
          </p:nvSpPr>
          <p:spPr bwMode="auto">
            <a:xfrm>
              <a:off x="-1103313" y="2519363"/>
              <a:ext cx="414338" cy="598488"/>
            </a:xfrm>
            <a:custGeom>
              <a:avLst/>
              <a:gdLst>
                <a:gd name="T0" fmla="*/ 1610 w 2347"/>
                <a:gd name="T1" fmla="*/ 805 h 3396"/>
                <a:gd name="T2" fmla="*/ 373 w 2347"/>
                <a:gd name="T3" fmla="*/ 449 h 3396"/>
                <a:gd name="T4" fmla="*/ 283 w 2347"/>
                <a:gd name="T5" fmla="*/ 477 h 3396"/>
                <a:gd name="T6" fmla="*/ 226 w 2347"/>
                <a:gd name="T7" fmla="*/ 547 h 3396"/>
                <a:gd name="T8" fmla="*/ 213 w 2347"/>
                <a:gd name="T9" fmla="*/ 3025 h 3396"/>
                <a:gd name="T10" fmla="*/ 241 w 2347"/>
                <a:gd name="T11" fmla="*/ 3113 h 3396"/>
                <a:gd name="T12" fmla="*/ 311 w 2347"/>
                <a:gd name="T13" fmla="*/ 3170 h 3396"/>
                <a:gd name="T14" fmla="*/ 1974 w 2347"/>
                <a:gd name="T15" fmla="*/ 3183 h 3396"/>
                <a:gd name="T16" fmla="*/ 2064 w 2347"/>
                <a:gd name="T17" fmla="*/ 3155 h 3396"/>
                <a:gd name="T18" fmla="*/ 2122 w 2347"/>
                <a:gd name="T19" fmla="*/ 3086 h 3396"/>
                <a:gd name="T20" fmla="*/ 2134 w 2347"/>
                <a:gd name="T21" fmla="*/ 609 h 3396"/>
                <a:gd name="T22" fmla="*/ 2107 w 2347"/>
                <a:gd name="T23" fmla="*/ 520 h 3396"/>
                <a:gd name="T24" fmla="*/ 2036 w 2347"/>
                <a:gd name="T25" fmla="*/ 462 h 3396"/>
                <a:gd name="T26" fmla="*/ 1821 w 2347"/>
                <a:gd name="T27" fmla="*/ 449 h 3396"/>
                <a:gd name="T28" fmla="*/ 1809 w 2347"/>
                <a:gd name="T29" fmla="*/ 894 h 3396"/>
                <a:gd name="T30" fmla="*/ 1755 w 2347"/>
                <a:gd name="T31" fmla="*/ 971 h 3396"/>
                <a:gd name="T32" fmla="*/ 1668 w 2347"/>
                <a:gd name="T33" fmla="*/ 1011 h 3396"/>
                <a:gd name="T34" fmla="*/ 679 w 2347"/>
                <a:gd name="T35" fmla="*/ 1011 h 3396"/>
                <a:gd name="T36" fmla="*/ 592 w 2347"/>
                <a:gd name="T37" fmla="*/ 971 h 3396"/>
                <a:gd name="T38" fmla="*/ 538 w 2347"/>
                <a:gd name="T39" fmla="*/ 894 h 3396"/>
                <a:gd name="T40" fmla="*/ 526 w 2347"/>
                <a:gd name="T41" fmla="*/ 449 h 3396"/>
                <a:gd name="T42" fmla="*/ 1152 w 2347"/>
                <a:gd name="T43" fmla="*/ 75 h 3396"/>
                <a:gd name="T44" fmla="*/ 1104 w 2347"/>
                <a:gd name="T45" fmla="*/ 112 h 3396"/>
                <a:gd name="T46" fmla="*/ 1096 w 2347"/>
                <a:gd name="T47" fmla="*/ 174 h 3396"/>
                <a:gd name="T48" fmla="*/ 1132 w 2347"/>
                <a:gd name="T49" fmla="*/ 222 h 3396"/>
                <a:gd name="T50" fmla="*/ 1195 w 2347"/>
                <a:gd name="T51" fmla="*/ 230 h 3396"/>
                <a:gd name="T52" fmla="*/ 1244 w 2347"/>
                <a:gd name="T53" fmla="*/ 193 h 3396"/>
                <a:gd name="T54" fmla="*/ 1251 w 2347"/>
                <a:gd name="T55" fmla="*/ 131 h 3396"/>
                <a:gd name="T56" fmla="*/ 1215 w 2347"/>
                <a:gd name="T57" fmla="*/ 84 h 3396"/>
                <a:gd name="T58" fmla="*/ 989 w 2347"/>
                <a:gd name="T59" fmla="*/ 0 h 3396"/>
                <a:gd name="T60" fmla="*/ 1421 w 2347"/>
                <a:gd name="T61" fmla="*/ 12 h 3396"/>
                <a:gd name="T62" fmla="*/ 1493 w 2347"/>
                <a:gd name="T63" fmla="*/ 71 h 3396"/>
                <a:gd name="T64" fmla="*/ 1519 w 2347"/>
                <a:gd name="T65" fmla="*/ 161 h 3396"/>
                <a:gd name="T66" fmla="*/ 2021 w 2347"/>
                <a:gd name="T67" fmla="*/ 241 h 3396"/>
                <a:gd name="T68" fmla="*/ 2149 w 2347"/>
                <a:gd name="T69" fmla="*/ 281 h 3396"/>
                <a:gd name="T70" fmla="*/ 2253 w 2347"/>
                <a:gd name="T71" fmla="*/ 362 h 3396"/>
                <a:gd name="T72" fmla="*/ 2323 w 2347"/>
                <a:gd name="T73" fmla="*/ 475 h 3396"/>
                <a:gd name="T74" fmla="*/ 2347 w 2347"/>
                <a:gd name="T75" fmla="*/ 609 h 3396"/>
                <a:gd name="T76" fmla="*/ 2335 w 2347"/>
                <a:gd name="T77" fmla="*/ 3115 h 3396"/>
                <a:gd name="T78" fmla="*/ 2281 w 2347"/>
                <a:gd name="T79" fmla="*/ 3236 h 3396"/>
                <a:gd name="T80" fmla="*/ 2187 w 2347"/>
                <a:gd name="T81" fmla="*/ 3329 h 3396"/>
                <a:gd name="T82" fmla="*/ 2066 w 2347"/>
                <a:gd name="T83" fmla="*/ 3384 h 3396"/>
                <a:gd name="T84" fmla="*/ 373 w 2347"/>
                <a:gd name="T85" fmla="*/ 3396 h 3396"/>
                <a:gd name="T86" fmla="*/ 238 w 2347"/>
                <a:gd name="T87" fmla="*/ 3370 h 3396"/>
                <a:gd name="T88" fmla="*/ 125 w 2347"/>
                <a:gd name="T89" fmla="*/ 3301 h 3396"/>
                <a:gd name="T90" fmla="*/ 44 w 2347"/>
                <a:gd name="T91" fmla="*/ 3198 h 3396"/>
                <a:gd name="T92" fmla="*/ 3 w 2347"/>
                <a:gd name="T93" fmla="*/ 3070 h 3396"/>
                <a:gd name="T94" fmla="*/ 3 w 2347"/>
                <a:gd name="T95" fmla="*/ 562 h 3396"/>
                <a:gd name="T96" fmla="*/ 44 w 2347"/>
                <a:gd name="T97" fmla="*/ 435 h 3396"/>
                <a:gd name="T98" fmla="*/ 125 w 2347"/>
                <a:gd name="T99" fmla="*/ 331 h 3396"/>
                <a:gd name="T100" fmla="*/ 238 w 2347"/>
                <a:gd name="T101" fmla="*/ 262 h 3396"/>
                <a:gd name="T102" fmla="*/ 373 w 2347"/>
                <a:gd name="T103" fmla="*/ 238 h 3396"/>
                <a:gd name="T104" fmla="*/ 831 w 2347"/>
                <a:gd name="T105" fmla="*/ 128 h 3396"/>
                <a:gd name="T106" fmla="*/ 875 w 2347"/>
                <a:gd name="T107" fmla="*/ 47 h 3396"/>
                <a:gd name="T108" fmla="*/ 956 w 2347"/>
                <a:gd name="T109" fmla="*/ 3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7" h="3396">
                  <a:moveTo>
                    <a:pt x="737" y="465"/>
                  </a:moveTo>
                  <a:lnTo>
                    <a:pt x="737" y="805"/>
                  </a:lnTo>
                  <a:lnTo>
                    <a:pt x="1610" y="805"/>
                  </a:lnTo>
                  <a:lnTo>
                    <a:pt x="1610" y="465"/>
                  </a:lnTo>
                  <a:lnTo>
                    <a:pt x="737" y="465"/>
                  </a:lnTo>
                  <a:close/>
                  <a:moveTo>
                    <a:pt x="373" y="449"/>
                  </a:moveTo>
                  <a:lnTo>
                    <a:pt x="341" y="453"/>
                  </a:lnTo>
                  <a:lnTo>
                    <a:pt x="311" y="462"/>
                  </a:lnTo>
                  <a:lnTo>
                    <a:pt x="283" y="477"/>
                  </a:lnTo>
                  <a:lnTo>
                    <a:pt x="260" y="496"/>
                  </a:lnTo>
                  <a:lnTo>
                    <a:pt x="241" y="520"/>
                  </a:lnTo>
                  <a:lnTo>
                    <a:pt x="226" y="547"/>
                  </a:lnTo>
                  <a:lnTo>
                    <a:pt x="217" y="577"/>
                  </a:lnTo>
                  <a:lnTo>
                    <a:pt x="213" y="609"/>
                  </a:lnTo>
                  <a:lnTo>
                    <a:pt x="213" y="3025"/>
                  </a:lnTo>
                  <a:lnTo>
                    <a:pt x="217" y="3056"/>
                  </a:lnTo>
                  <a:lnTo>
                    <a:pt x="226" y="3086"/>
                  </a:lnTo>
                  <a:lnTo>
                    <a:pt x="241" y="3113"/>
                  </a:lnTo>
                  <a:lnTo>
                    <a:pt x="260" y="3136"/>
                  </a:lnTo>
                  <a:lnTo>
                    <a:pt x="283" y="3155"/>
                  </a:lnTo>
                  <a:lnTo>
                    <a:pt x="311" y="3170"/>
                  </a:lnTo>
                  <a:lnTo>
                    <a:pt x="341" y="3180"/>
                  </a:lnTo>
                  <a:lnTo>
                    <a:pt x="373" y="3183"/>
                  </a:lnTo>
                  <a:lnTo>
                    <a:pt x="1974" y="3183"/>
                  </a:lnTo>
                  <a:lnTo>
                    <a:pt x="2006" y="3180"/>
                  </a:lnTo>
                  <a:lnTo>
                    <a:pt x="2036" y="3170"/>
                  </a:lnTo>
                  <a:lnTo>
                    <a:pt x="2064" y="3155"/>
                  </a:lnTo>
                  <a:lnTo>
                    <a:pt x="2087" y="3136"/>
                  </a:lnTo>
                  <a:lnTo>
                    <a:pt x="2107" y="3113"/>
                  </a:lnTo>
                  <a:lnTo>
                    <a:pt x="2122" y="3086"/>
                  </a:lnTo>
                  <a:lnTo>
                    <a:pt x="2131" y="3056"/>
                  </a:lnTo>
                  <a:lnTo>
                    <a:pt x="2134" y="3025"/>
                  </a:lnTo>
                  <a:lnTo>
                    <a:pt x="2134" y="609"/>
                  </a:lnTo>
                  <a:lnTo>
                    <a:pt x="2131" y="577"/>
                  </a:lnTo>
                  <a:lnTo>
                    <a:pt x="2122" y="547"/>
                  </a:lnTo>
                  <a:lnTo>
                    <a:pt x="2107" y="520"/>
                  </a:lnTo>
                  <a:lnTo>
                    <a:pt x="2087" y="496"/>
                  </a:lnTo>
                  <a:lnTo>
                    <a:pt x="2064" y="477"/>
                  </a:lnTo>
                  <a:lnTo>
                    <a:pt x="2036" y="462"/>
                  </a:lnTo>
                  <a:lnTo>
                    <a:pt x="2006" y="453"/>
                  </a:lnTo>
                  <a:lnTo>
                    <a:pt x="1974" y="449"/>
                  </a:lnTo>
                  <a:lnTo>
                    <a:pt x="1821" y="449"/>
                  </a:lnTo>
                  <a:lnTo>
                    <a:pt x="1821" y="829"/>
                  </a:lnTo>
                  <a:lnTo>
                    <a:pt x="1818" y="862"/>
                  </a:lnTo>
                  <a:lnTo>
                    <a:pt x="1809" y="894"/>
                  </a:lnTo>
                  <a:lnTo>
                    <a:pt x="1795" y="923"/>
                  </a:lnTo>
                  <a:lnTo>
                    <a:pt x="1777" y="948"/>
                  </a:lnTo>
                  <a:lnTo>
                    <a:pt x="1755" y="971"/>
                  </a:lnTo>
                  <a:lnTo>
                    <a:pt x="1729" y="989"/>
                  </a:lnTo>
                  <a:lnTo>
                    <a:pt x="1700" y="1003"/>
                  </a:lnTo>
                  <a:lnTo>
                    <a:pt x="1668" y="1011"/>
                  </a:lnTo>
                  <a:lnTo>
                    <a:pt x="1635" y="1014"/>
                  </a:lnTo>
                  <a:lnTo>
                    <a:pt x="712" y="1014"/>
                  </a:lnTo>
                  <a:lnTo>
                    <a:pt x="679" y="1011"/>
                  </a:lnTo>
                  <a:lnTo>
                    <a:pt x="647" y="1003"/>
                  </a:lnTo>
                  <a:lnTo>
                    <a:pt x="618" y="989"/>
                  </a:lnTo>
                  <a:lnTo>
                    <a:pt x="592" y="971"/>
                  </a:lnTo>
                  <a:lnTo>
                    <a:pt x="570" y="948"/>
                  </a:lnTo>
                  <a:lnTo>
                    <a:pt x="552" y="923"/>
                  </a:lnTo>
                  <a:lnTo>
                    <a:pt x="538" y="894"/>
                  </a:lnTo>
                  <a:lnTo>
                    <a:pt x="529" y="862"/>
                  </a:lnTo>
                  <a:lnTo>
                    <a:pt x="526" y="829"/>
                  </a:lnTo>
                  <a:lnTo>
                    <a:pt x="526" y="449"/>
                  </a:lnTo>
                  <a:lnTo>
                    <a:pt x="373" y="449"/>
                  </a:lnTo>
                  <a:close/>
                  <a:moveTo>
                    <a:pt x="1174" y="73"/>
                  </a:moveTo>
                  <a:lnTo>
                    <a:pt x="1152" y="75"/>
                  </a:lnTo>
                  <a:lnTo>
                    <a:pt x="1132" y="84"/>
                  </a:lnTo>
                  <a:lnTo>
                    <a:pt x="1116" y="96"/>
                  </a:lnTo>
                  <a:lnTo>
                    <a:pt x="1104" y="112"/>
                  </a:lnTo>
                  <a:lnTo>
                    <a:pt x="1096" y="131"/>
                  </a:lnTo>
                  <a:lnTo>
                    <a:pt x="1093" y="153"/>
                  </a:lnTo>
                  <a:lnTo>
                    <a:pt x="1096" y="174"/>
                  </a:lnTo>
                  <a:lnTo>
                    <a:pt x="1104" y="193"/>
                  </a:lnTo>
                  <a:lnTo>
                    <a:pt x="1116" y="209"/>
                  </a:lnTo>
                  <a:lnTo>
                    <a:pt x="1132" y="222"/>
                  </a:lnTo>
                  <a:lnTo>
                    <a:pt x="1152" y="230"/>
                  </a:lnTo>
                  <a:lnTo>
                    <a:pt x="1174" y="234"/>
                  </a:lnTo>
                  <a:lnTo>
                    <a:pt x="1195" y="230"/>
                  </a:lnTo>
                  <a:lnTo>
                    <a:pt x="1215" y="222"/>
                  </a:lnTo>
                  <a:lnTo>
                    <a:pt x="1231" y="209"/>
                  </a:lnTo>
                  <a:lnTo>
                    <a:pt x="1244" y="193"/>
                  </a:lnTo>
                  <a:lnTo>
                    <a:pt x="1251" y="174"/>
                  </a:lnTo>
                  <a:lnTo>
                    <a:pt x="1254" y="153"/>
                  </a:lnTo>
                  <a:lnTo>
                    <a:pt x="1251" y="131"/>
                  </a:lnTo>
                  <a:lnTo>
                    <a:pt x="1244" y="112"/>
                  </a:lnTo>
                  <a:lnTo>
                    <a:pt x="1231" y="96"/>
                  </a:lnTo>
                  <a:lnTo>
                    <a:pt x="1215" y="84"/>
                  </a:lnTo>
                  <a:lnTo>
                    <a:pt x="1195" y="75"/>
                  </a:lnTo>
                  <a:lnTo>
                    <a:pt x="1174" y="73"/>
                  </a:lnTo>
                  <a:close/>
                  <a:moveTo>
                    <a:pt x="989" y="0"/>
                  </a:moveTo>
                  <a:lnTo>
                    <a:pt x="1358" y="0"/>
                  </a:lnTo>
                  <a:lnTo>
                    <a:pt x="1390" y="3"/>
                  </a:lnTo>
                  <a:lnTo>
                    <a:pt x="1421" y="12"/>
                  </a:lnTo>
                  <a:lnTo>
                    <a:pt x="1449" y="27"/>
                  </a:lnTo>
                  <a:lnTo>
                    <a:pt x="1472" y="47"/>
                  </a:lnTo>
                  <a:lnTo>
                    <a:pt x="1493" y="71"/>
                  </a:lnTo>
                  <a:lnTo>
                    <a:pt x="1507" y="98"/>
                  </a:lnTo>
                  <a:lnTo>
                    <a:pt x="1516" y="128"/>
                  </a:lnTo>
                  <a:lnTo>
                    <a:pt x="1519" y="161"/>
                  </a:lnTo>
                  <a:lnTo>
                    <a:pt x="1519" y="238"/>
                  </a:lnTo>
                  <a:lnTo>
                    <a:pt x="1974" y="238"/>
                  </a:lnTo>
                  <a:lnTo>
                    <a:pt x="2021" y="241"/>
                  </a:lnTo>
                  <a:lnTo>
                    <a:pt x="2066" y="250"/>
                  </a:lnTo>
                  <a:lnTo>
                    <a:pt x="2109" y="262"/>
                  </a:lnTo>
                  <a:lnTo>
                    <a:pt x="2149" y="281"/>
                  </a:lnTo>
                  <a:lnTo>
                    <a:pt x="2187" y="304"/>
                  </a:lnTo>
                  <a:lnTo>
                    <a:pt x="2222" y="331"/>
                  </a:lnTo>
                  <a:lnTo>
                    <a:pt x="2253" y="362"/>
                  </a:lnTo>
                  <a:lnTo>
                    <a:pt x="2281" y="397"/>
                  </a:lnTo>
                  <a:lnTo>
                    <a:pt x="2303" y="435"/>
                  </a:lnTo>
                  <a:lnTo>
                    <a:pt x="2323" y="475"/>
                  </a:lnTo>
                  <a:lnTo>
                    <a:pt x="2336" y="518"/>
                  </a:lnTo>
                  <a:lnTo>
                    <a:pt x="2344" y="562"/>
                  </a:lnTo>
                  <a:lnTo>
                    <a:pt x="2347" y="609"/>
                  </a:lnTo>
                  <a:lnTo>
                    <a:pt x="2347" y="3025"/>
                  </a:lnTo>
                  <a:lnTo>
                    <a:pt x="2344" y="3070"/>
                  </a:lnTo>
                  <a:lnTo>
                    <a:pt x="2335" y="3115"/>
                  </a:lnTo>
                  <a:lnTo>
                    <a:pt x="2323" y="3159"/>
                  </a:lnTo>
                  <a:lnTo>
                    <a:pt x="2303" y="3198"/>
                  </a:lnTo>
                  <a:lnTo>
                    <a:pt x="2281" y="3236"/>
                  </a:lnTo>
                  <a:lnTo>
                    <a:pt x="2253" y="3270"/>
                  </a:lnTo>
                  <a:lnTo>
                    <a:pt x="2222" y="3301"/>
                  </a:lnTo>
                  <a:lnTo>
                    <a:pt x="2187" y="3329"/>
                  </a:lnTo>
                  <a:lnTo>
                    <a:pt x="2149" y="3352"/>
                  </a:lnTo>
                  <a:lnTo>
                    <a:pt x="2109" y="3370"/>
                  </a:lnTo>
                  <a:lnTo>
                    <a:pt x="2066" y="3384"/>
                  </a:lnTo>
                  <a:lnTo>
                    <a:pt x="2021" y="3393"/>
                  </a:lnTo>
                  <a:lnTo>
                    <a:pt x="1974" y="3396"/>
                  </a:lnTo>
                  <a:lnTo>
                    <a:pt x="373" y="3396"/>
                  </a:lnTo>
                  <a:lnTo>
                    <a:pt x="326" y="3393"/>
                  </a:lnTo>
                  <a:lnTo>
                    <a:pt x="281" y="3384"/>
                  </a:lnTo>
                  <a:lnTo>
                    <a:pt x="238" y="3370"/>
                  </a:lnTo>
                  <a:lnTo>
                    <a:pt x="198" y="3352"/>
                  </a:lnTo>
                  <a:lnTo>
                    <a:pt x="160" y="3329"/>
                  </a:lnTo>
                  <a:lnTo>
                    <a:pt x="125" y="3301"/>
                  </a:lnTo>
                  <a:lnTo>
                    <a:pt x="94" y="3270"/>
                  </a:lnTo>
                  <a:lnTo>
                    <a:pt x="66" y="3236"/>
                  </a:lnTo>
                  <a:lnTo>
                    <a:pt x="44" y="3198"/>
                  </a:lnTo>
                  <a:lnTo>
                    <a:pt x="25" y="3159"/>
                  </a:lnTo>
                  <a:lnTo>
                    <a:pt x="11" y="3115"/>
                  </a:lnTo>
                  <a:lnTo>
                    <a:pt x="3" y="3070"/>
                  </a:lnTo>
                  <a:lnTo>
                    <a:pt x="0" y="3025"/>
                  </a:lnTo>
                  <a:lnTo>
                    <a:pt x="0" y="609"/>
                  </a:lnTo>
                  <a:lnTo>
                    <a:pt x="3" y="562"/>
                  </a:lnTo>
                  <a:lnTo>
                    <a:pt x="11" y="518"/>
                  </a:lnTo>
                  <a:lnTo>
                    <a:pt x="25" y="475"/>
                  </a:lnTo>
                  <a:lnTo>
                    <a:pt x="44" y="435"/>
                  </a:lnTo>
                  <a:lnTo>
                    <a:pt x="66" y="397"/>
                  </a:lnTo>
                  <a:lnTo>
                    <a:pt x="94" y="362"/>
                  </a:lnTo>
                  <a:lnTo>
                    <a:pt x="125" y="331"/>
                  </a:lnTo>
                  <a:lnTo>
                    <a:pt x="160" y="304"/>
                  </a:lnTo>
                  <a:lnTo>
                    <a:pt x="198" y="281"/>
                  </a:lnTo>
                  <a:lnTo>
                    <a:pt x="238" y="262"/>
                  </a:lnTo>
                  <a:lnTo>
                    <a:pt x="281" y="250"/>
                  </a:lnTo>
                  <a:lnTo>
                    <a:pt x="326" y="241"/>
                  </a:lnTo>
                  <a:lnTo>
                    <a:pt x="373" y="238"/>
                  </a:lnTo>
                  <a:lnTo>
                    <a:pt x="828" y="238"/>
                  </a:lnTo>
                  <a:lnTo>
                    <a:pt x="828" y="161"/>
                  </a:lnTo>
                  <a:lnTo>
                    <a:pt x="831" y="128"/>
                  </a:lnTo>
                  <a:lnTo>
                    <a:pt x="840" y="98"/>
                  </a:lnTo>
                  <a:lnTo>
                    <a:pt x="855" y="71"/>
                  </a:lnTo>
                  <a:lnTo>
                    <a:pt x="875" y="47"/>
                  </a:lnTo>
                  <a:lnTo>
                    <a:pt x="898" y="27"/>
                  </a:lnTo>
                  <a:lnTo>
                    <a:pt x="926" y="12"/>
                  </a:lnTo>
                  <a:lnTo>
                    <a:pt x="956" y="3"/>
                  </a:lnTo>
                  <a:lnTo>
                    <a:pt x="9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2" name="Freeform 92"/>
            <p:cNvSpPr>
              <a:spLocks noEditPoints="1"/>
            </p:cNvSpPr>
            <p:nvPr/>
          </p:nvSpPr>
          <p:spPr bwMode="auto">
            <a:xfrm>
              <a:off x="-1041401" y="2757488"/>
              <a:ext cx="96838" cy="79375"/>
            </a:xfrm>
            <a:custGeom>
              <a:avLst/>
              <a:gdLst>
                <a:gd name="T0" fmla="*/ 75 w 546"/>
                <a:gd name="T1" fmla="*/ 69 h 453"/>
                <a:gd name="T2" fmla="*/ 60 w 546"/>
                <a:gd name="T3" fmla="*/ 83 h 453"/>
                <a:gd name="T4" fmla="*/ 58 w 546"/>
                <a:gd name="T5" fmla="*/ 367 h 453"/>
                <a:gd name="T6" fmla="*/ 66 w 546"/>
                <a:gd name="T7" fmla="*/ 388 h 453"/>
                <a:gd name="T8" fmla="*/ 86 w 546"/>
                <a:gd name="T9" fmla="*/ 395 h 453"/>
                <a:gd name="T10" fmla="*/ 345 w 546"/>
                <a:gd name="T11" fmla="*/ 393 h 453"/>
                <a:gd name="T12" fmla="*/ 361 w 546"/>
                <a:gd name="T13" fmla="*/ 378 h 453"/>
                <a:gd name="T14" fmla="*/ 363 w 546"/>
                <a:gd name="T15" fmla="*/ 290 h 453"/>
                <a:gd name="T16" fmla="*/ 292 w 546"/>
                <a:gd name="T17" fmla="*/ 372 h 453"/>
                <a:gd name="T18" fmla="*/ 265 w 546"/>
                <a:gd name="T19" fmla="*/ 380 h 453"/>
                <a:gd name="T20" fmla="*/ 249 w 546"/>
                <a:gd name="T21" fmla="*/ 379 h 453"/>
                <a:gd name="T22" fmla="*/ 225 w 546"/>
                <a:gd name="T23" fmla="*/ 366 h 453"/>
                <a:gd name="T24" fmla="*/ 91 w 546"/>
                <a:gd name="T25" fmla="*/ 238 h 453"/>
                <a:gd name="T26" fmla="*/ 84 w 546"/>
                <a:gd name="T27" fmla="*/ 206 h 453"/>
                <a:gd name="T28" fmla="*/ 98 w 546"/>
                <a:gd name="T29" fmla="*/ 176 h 453"/>
                <a:gd name="T30" fmla="*/ 127 w 546"/>
                <a:gd name="T31" fmla="*/ 160 h 453"/>
                <a:gd name="T32" fmla="*/ 159 w 546"/>
                <a:gd name="T33" fmla="*/ 164 h 453"/>
                <a:gd name="T34" fmla="*/ 218 w 546"/>
                <a:gd name="T35" fmla="*/ 214 h 453"/>
                <a:gd name="T36" fmla="*/ 248 w 546"/>
                <a:gd name="T37" fmla="*/ 228 h 453"/>
                <a:gd name="T38" fmla="*/ 279 w 546"/>
                <a:gd name="T39" fmla="*/ 221 h 453"/>
                <a:gd name="T40" fmla="*/ 363 w 546"/>
                <a:gd name="T41" fmla="*/ 125 h 453"/>
                <a:gd name="T42" fmla="*/ 361 w 546"/>
                <a:gd name="T43" fmla="*/ 83 h 453"/>
                <a:gd name="T44" fmla="*/ 345 w 546"/>
                <a:gd name="T45" fmla="*/ 69 h 453"/>
                <a:gd name="T46" fmla="*/ 86 w 546"/>
                <a:gd name="T47" fmla="*/ 66 h 453"/>
                <a:gd name="T48" fmla="*/ 513 w 546"/>
                <a:gd name="T49" fmla="*/ 4 h 453"/>
                <a:gd name="T50" fmla="*/ 539 w 546"/>
                <a:gd name="T51" fmla="*/ 25 h 453"/>
                <a:gd name="T52" fmla="*/ 546 w 546"/>
                <a:gd name="T53" fmla="*/ 57 h 453"/>
                <a:gd name="T54" fmla="*/ 533 w 546"/>
                <a:gd name="T55" fmla="*/ 87 h 453"/>
                <a:gd name="T56" fmla="*/ 421 w 546"/>
                <a:gd name="T57" fmla="*/ 367 h 453"/>
                <a:gd name="T58" fmla="*/ 409 w 546"/>
                <a:gd name="T59" fmla="*/ 410 h 453"/>
                <a:gd name="T60" fmla="*/ 378 w 546"/>
                <a:gd name="T61" fmla="*/ 441 h 453"/>
                <a:gd name="T62" fmla="*/ 335 w 546"/>
                <a:gd name="T63" fmla="*/ 453 h 453"/>
                <a:gd name="T64" fmla="*/ 63 w 546"/>
                <a:gd name="T65" fmla="*/ 449 h 453"/>
                <a:gd name="T66" fmla="*/ 26 w 546"/>
                <a:gd name="T67" fmla="*/ 428 h 453"/>
                <a:gd name="T68" fmla="*/ 3 w 546"/>
                <a:gd name="T69" fmla="*/ 390 h 453"/>
                <a:gd name="T70" fmla="*/ 0 w 546"/>
                <a:gd name="T71" fmla="*/ 95 h 453"/>
                <a:gd name="T72" fmla="*/ 12 w 546"/>
                <a:gd name="T73" fmla="*/ 52 h 453"/>
                <a:gd name="T74" fmla="*/ 43 w 546"/>
                <a:gd name="T75" fmla="*/ 21 h 453"/>
                <a:gd name="T76" fmla="*/ 86 w 546"/>
                <a:gd name="T77" fmla="*/ 9 h 453"/>
                <a:gd name="T78" fmla="*/ 356 w 546"/>
                <a:gd name="T79" fmla="*/ 11 h 453"/>
                <a:gd name="T80" fmla="*/ 391 w 546"/>
                <a:gd name="T81" fmla="*/ 30 h 453"/>
                <a:gd name="T82" fmla="*/ 415 w 546"/>
                <a:gd name="T83" fmla="*/ 63 h 453"/>
                <a:gd name="T84" fmla="*/ 465 w 546"/>
                <a:gd name="T85" fmla="*/ 8 h 453"/>
                <a:gd name="T86" fmla="*/ 497 w 546"/>
                <a:gd name="T8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53">
                  <a:moveTo>
                    <a:pt x="86" y="66"/>
                  </a:moveTo>
                  <a:lnTo>
                    <a:pt x="75" y="69"/>
                  </a:lnTo>
                  <a:lnTo>
                    <a:pt x="66" y="75"/>
                  </a:lnTo>
                  <a:lnTo>
                    <a:pt x="60" y="83"/>
                  </a:lnTo>
                  <a:lnTo>
                    <a:pt x="58" y="95"/>
                  </a:lnTo>
                  <a:lnTo>
                    <a:pt x="58" y="367"/>
                  </a:lnTo>
                  <a:lnTo>
                    <a:pt x="60" y="378"/>
                  </a:lnTo>
                  <a:lnTo>
                    <a:pt x="66" y="388"/>
                  </a:lnTo>
                  <a:lnTo>
                    <a:pt x="75" y="393"/>
                  </a:lnTo>
                  <a:lnTo>
                    <a:pt x="86" y="395"/>
                  </a:lnTo>
                  <a:lnTo>
                    <a:pt x="335" y="395"/>
                  </a:lnTo>
                  <a:lnTo>
                    <a:pt x="345" y="393"/>
                  </a:lnTo>
                  <a:lnTo>
                    <a:pt x="355" y="388"/>
                  </a:lnTo>
                  <a:lnTo>
                    <a:pt x="361" y="378"/>
                  </a:lnTo>
                  <a:lnTo>
                    <a:pt x="363" y="367"/>
                  </a:lnTo>
                  <a:lnTo>
                    <a:pt x="363" y="290"/>
                  </a:lnTo>
                  <a:lnTo>
                    <a:pt x="302" y="362"/>
                  </a:lnTo>
                  <a:lnTo>
                    <a:pt x="292" y="372"/>
                  </a:lnTo>
                  <a:lnTo>
                    <a:pt x="279" y="378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9"/>
                  </a:lnTo>
                  <a:lnTo>
                    <a:pt x="236" y="374"/>
                  </a:lnTo>
                  <a:lnTo>
                    <a:pt x="225" y="366"/>
                  </a:lnTo>
                  <a:lnTo>
                    <a:pt x="101" y="252"/>
                  </a:lnTo>
                  <a:lnTo>
                    <a:pt x="91" y="238"/>
                  </a:lnTo>
                  <a:lnTo>
                    <a:pt x="85" y="223"/>
                  </a:lnTo>
                  <a:lnTo>
                    <a:pt x="84" y="206"/>
                  </a:lnTo>
                  <a:lnTo>
                    <a:pt x="89" y="191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60"/>
                  </a:lnTo>
                  <a:lnTo>
                    <a:pt x="143" y="160"/>
                  </a:lnTo>
                  <a:lnTo>
                    <a:pt x="159" y="164"/>
                  </a:lnTo>
                  <a:lnTo>
                    <a:pt x="173" y="174"/>
                  </a:lnTo>
                  <a:lnTo>
                    <a:pt x="218" y="214"/>
                  </a:lnTo>
                  <a:lnTo>
                    <a:pt x="232" y="224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92" y="210"/>
                  </a:lnTo>
                  <a:lnTo>
                    <a:pt x="363" y="125"/>
                  </a:lnTo>
                  <a:lnTo>
                    <a:pt x="363" y="95"/>
                  </a:lnTo>
                  <a:lnTo>
                    <a:pt x="361" y="83"/>
                  </a:lnTo>
                  <a:lnTo>
                    <a:pt x="355" y="75"/>
                  </a:lnTo>
                  <a:lnTo>
                    <a:pt x="345" y="69"/>
                  </a:lnTo>
                  <a:lnTo>
                    <a:pt x="335" y="66"/>
                  </a:lnTo>
                  <a:lnTo>
                    <a:pt x="86" y="66"/>
                  </a:lnTo>
                  <a:close/>
                  <a:moveTo>
                    <a:pt x="497" y="0"/>
                  </a:moveTo>
                  <a:lnTo>
                    <a:pt x="513" y="4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41"/>
                  </a:lnTo>
                  <a:lnTo>
                    <a:pt x="546" y="57"/>
                  </a:lnTo>
                  <a:lnTo>
                    <a:pt x="543" y="73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67"/>
                  </a:lnTo>
                  <a:lnTo>
                    <a:pt x="418" y="390"/>
                  </a:lnTo>
                  <a:lnTo>
                    <a:pt x="409" y="410"/>
                  </a:lnTo>
                  <a:lnTo>
                    <a:pt x="396" y="428"/>
                  </a:lnTo>
                  <a:lnTo>
                    <a:pt x="378" y="441"/>
                  </a:lnTo>
                  <a:lnTo>
                    <a:pt x="357" y="449"/>
                  </a:lnTo>
                  <a:lnTo>
                    <a:pt x="335" y="453"/>
                  </a:lnTo>
                  <a:lnTo>
                    <a:pt x="86" y="453"/>
                  </a:lnTo>
                  <a:lnTo>
                    <a:pt x="63" y="449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10"/>
                  </a:lnTo>
                  <a:lnTo>
                    <a:pt x="3" y="390"/>
                  </a:lnTo>
                  <a:lnTo>
                    <a:pt x="0" y="367"/>
                  </a:lnTo>
                  <a:lnTo>
                    <a:pt x="0" y="95"/>
                  </a:lnTo>
                  <a:lnTo>
                    <a:pt x="3" y="72"/>
                  </a:lnTo>
                  <a:lnTo>
                    <a:pt x="12" y="52"/>
                  </a:lnTo>
                  <a:lnTo>
                    <a:pt x="26" y="33"/>
                  </a:lnTo>
                  <a:lnTo>
                    <a:pt x="43" y="21"/>
                  </a:lnTo>
                  <a:lnTo>
                    <a:pt x="63" y="12"/>
                  </a:lnTo>
                  <a:lnTo>
                    <a:pt x="86" y="9"/>
                  </a:lnTo>
                  <a:lnTo>
                    <a:pt x="335" y="9"/>
                  </a:lnTo>
                  <a:lnTo>
                    <a:pt x="356" y="11"/>
                  </a:lnTo>
                  <a:lnTo>
                    <a:pt x="375" y="19"/>
                  </a:lnTo>
                  <a:lnTo>
                    <a:pt x="391" y="30"/>
                  </a:lnTo>
                  <a:lnTo>
                    <a:pt x="405" y="45"/>
                  </a:lnTo>
                  <a:lnTo>
                    <a:pt x="415" y="63"/>
                  </a:lnTo>
                  <a:lnTo>
                    <a:pt x="452" y="20"/>
                  </a:lnTo>
                  <a:lnTo>
                    <a:pt x="465" y="8"/>
                  </a:lnTo>
                  <a:lnTo>
                    <a:pt x="480" y="2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3" name="Freeform 93"/>
            <p:cNvSpPr>
              <a:spLocks noEditPoints="1"/>
            </p:cNvSpPr>
            <p:nvPr/>
          </p:nvSpPr>
          <p:spPr bwMode="auto">
            <a:xfrm>
              <a:off x="-1041401" y="2859088"/>
              <a:ext cx="96838" cy="82550"/>
            </a:xfrm>
            <a:custGeom>
              <a:avLst/>
              <a:gdLst>
                <a:gd name="T0" fmla="*/ 75 w 546"/>
                <a:gd name="T1" fmla="*/ 80 h 465"/>
                <a:gd name="T2" fmla="*/ 60 w 546"/>
                <a:gd name="T3" fmla="*/ 96 h 465"/>
                <a:gd name="T4" fmla="*/ 58 w 546"/>
                <a:gd name="T5" fmla="*/ 379 h 465"/>
                <a:gd name="T6" fmla="*/ 66 w 546"/>
                <a:gd name="T7" fmla="*/ 399 h 465"/>
                <a:gd name="T8" fmla="*/ 86 w 546"/>
                <a:gd name="T9" fmla="*/ 407 h 465"/>
                <a:gd name="T10" fmla="*/ 345 w 546"/>
                <a:gd name="T11" fmla="*/ 405 h 465"/>
                <a:gd name="T12" fmla="*/ 361 w 546"/>
                <a:gd name="T13" fmla="*/ 390 h 465"/>
                <a:gd name="T14" fmla="*/ 363 w 546"/>
                <a:gd name="T15" fmla="*/ 289 h 465"/>
                <a:gd name="T16" fmla="*/ 292 w 546"/>
                <a:gd name="T17" fmla="*/ 370 h 465"/>
                <a:gd name="T18" fmla="*/ 265 w 546"/>
                <a:gd name="T19" fmla="*/ 380 h 465"/>
                <a:gd name="T20" fmla="*/ 249 w 546"/>
                <a:gd name="T21" fmla="*/ 378 h 465"/>
                <a:gd name="T22" fmla="*/ 225 w 546"/>
                <a:gd name="T23" fmla="*/ 366 h 465"/>
                <a:gd name="T24" fmla="*/ 91 w 546"/>
                <a:gd name="T25" fmla="*/ 237 h 465"/>
                <a:gd name="T26" fmla="*/ 84 w 546"/>
                <a:gd name="T27" fmla="*/ 205 h 465"/>
                <a:gd name="T28" fmla="*/ 98 w 546"/>
                <a:gd name="T29" fmla="*/ 176 h 465"/>
                <a:gd name="T30" fmla="*/ 127 w 546"/>
                <a:gd name="T31" fmla="*/ 160 h 465"/>
                <a:gd name="T32" fmla="*/ 159 w 546"/>
                <a:gd name="T33" fmla="*/ 164 h 465"/>
                <a:gd name="T34" fmla="*/ 218 w 546"/>
                <a:gd name="T35" fmla="*/ 214 h 465"/>
                <a:gd name="T36" fmla="*/ 248 w 546"/>
                <a:gd name="T37" fmla="*/ 228 h 465"/>
                <a:gd name="T38" fmla="*/ 279 w 546"/>
                <a:gd name="T39" fmla="*/ 220 h 465"/>
                <a:gd name="T40" fmla="*/ 363 w 546"/>
                <a:gd name="T41" fmla="*/ 123 h 465"/>
                <a:gd name="T42" fmla="*/ 361 w 546"/>
                <a:gd name="T43" fmla="*/ 96 h 465"/>
                <a:gd name="T44" fmla="*/ 345 w 546"/>
                <a:gd name="T45" fmla="*/ 80 h 465"/>
                <a:gd name="T46" fmla="*/ 86 w 546"/>
                <a:gd name="T47" fmla="*/ 78 h 465"/>
                <a:gd name="T48" fmla="*/ 513 w 546"/>
                <a:gd name="T49" fmla="*/ 3 h 465"/>
                <a:gd name="T50" fmla="*/ 539 w 546"/>
                <a:gd name="T51" fmla="*/ 25 h 465"/>
                <a:gd name="T52" fmla="*/ 546 w 546"/>
                <a:gd name="T53" fmla="*/ 55 h 465"/>
                <a:gd name="T54" fmla="*/ 533 w 546"/>
                <a:gd name="T55" fmla="*/ 86 h 465"/>
                <a:gd name="T56" fmla="*/ 421 w 546"/>
                <a:gd name="T57" fmla="*/ 379 h 465"/>
                <a:gd name="T58" fmla="*/ 409 w 546"/>
                <a:gd name="T59" fmla="*/ 422 h 465"/>
                <a:gd name="T60" fmla="*/ 378 w 546"/>
                <a:gd name="T61" fmla="*/ 453 h 465"/>
                <a:gd name="T62" fmla="*/ 335 w 546"/>
                <a:gd name="T63" fmla="*/ 465 h 465"/>
                <a:gd name="T64" fmla="*/ 63 w 546"/>
                <a:gd name="T65" fmla="*/ 462 h 465"/>
                <a:gd name="T66" fmla="*/ 26 w 546"/>
                <a:gd name="T67" fmla="*/ 439 h 465"/>
                <a:gd name="T68" fmla="*/ 3 w 546"/>
                <a:gd name="T69" fmla="*/ 402 h 465"/>
                <a:gd name="T70" fmla="*/ 0 w 546"/>
                <a:gd name="T71" fmla="*/ 106 h 465"/>
                <a:gd name="T72" fmla="*/ 12 w 546"/>
                <a:gd name="T73" fmla="*/ 63 h 465"/>
                <a:gd name="T74" fmla="*/ 43 w 546"/>
                <a:gd name="T75" fmla="*/ 32 h 465"/>
                <a:gd name="T76" fmla="*/ 86 w 546"/>
                <a:gd name="T77" fmla="*/ 20 h 465"/>
                <a:gd name="T78" fmla="*/ 354 w 546"/>
                <a:gd name="T79" fmla="*/ 22 h 465"/>
                <a:gd name="T80" fmla="*/ 387 w 546"/>
                <a:gd name="T81" fmla="*/ 39 h 465"/>
                <a:gd name="T82" fmla="*/ 410 w 546"/>
                <a:gd name="T83" fmla="*/ 67 h 465"/>
                <a:gd name="T84" fmla="*/ 465 w 546"/>
                <a:gd name="T85" fmla="*/ 7 h 465"/>
                <a:gd name="T86" fmla="*/ 497 w 546"/>
                <a:gd name="T8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65">
                  <a:moveTo>
                    <a:pt x="86" y="78"/>
                  </a:moveTo>
                  <a:lnTo>
                    <a:pt x="75" y="80"/>
                  </a:lnTo>
                  <a:lnTo>
                    <a:pt x="66" y="86"/>
                  </a:lnTo>
                  <a:lnTo>
                    <a:pt x="60" y="96"/>
                  </a:lnTo>
                  <a:lnTo>
                    <a:pt x="58" y="106"/>
                  </a:lnTo>
                  <a:lnTo>
                    <a:pt x="58" y="379"/>
                  </a:lnTo>
                  <a:lnTo>
                    <a:pt x="60" y="390"/>
                  </a:lnTo>
                  <a:lnTo>
                    <a:pt x="66" y="399"/>
                  </a:lnTo>
                  <a:lnTo>
                    <a:pt x="75" y="405"/>
                  </a:lnTo>
                  <a:lnTo>
                    <a:pt x="86" y="407"/>
                  </a:lnTo>
                  <a:lnTo>
                    <a:pt x="335" y="407"/>
                  </a:lnTo>
                  <a:lnTo>
                    <a:pt x="345" y="405"/>
                  </a:lnTo>
                  <a:lnTo>
                    <a:pt x="355" y="399"/>
                  </a:lnTo>
                  <a:lnTo>
                    <a:pt x="361" y="390"/>
                  </a:lnTo>
                  <a:lnTo>
                    <a:pt x="363" y="379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0"/>
                  </a:lnTo>
                  <a:lnTo>
                    <a:pt x="279" y="377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1"/>
                  </a:lnTo>
                  <a:lnTo>
                    <a:pt x="84" y="205"/>
                  </a:lnTo>
                  <a:lnTo>
                    <a:pt x="89" y="189"/>
                  </a:lnTo>
                  <a:lnTo>
                    <a:pt x="98" y="176"/>
                  </a:lnTo>
                  <a:lnTo>
                    <a:pt x="112" y="165"/>
                  </a:lnTo>
                  <a:lnTo>
                    <a:pt x="127" y="160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0"/>
                  </a:lnTo>
                  <a:lnTo>
                    <a:pt x="292" y="210"/>
                  </a:lnTo>
                  <a:lnTo>
                    <a:pt x="363" y="123"/>
                  </a:lnTo>
                  <a:lnTo>
                    <a:pt x="363" y="106"/>
                  </a:lnTo>
                  <a:lnTo>
                    <a:pt x="361" y="96"/>
                  </a:lnTo>
                  <a:lnTo>
                    <a:pt x="355" y="86"/>
                  </a:lnTo>
                  <a:lnTo>
                    <a:pt x="345" y="80"/>
                  </a:lnTo>
                  <a:lnTo>
                    <a:pt x="335" y="78"/>
                  </a:lnTo>
                  <a:lnTo>
                    <a:pt x="86" y="78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39"/>
                  </a:lnTo>
                  <a:lnTo>
                    <a:pt x="546" y="55"/>
                  </a:lnTo>
                  <a:lnTo>
                    <a:pt x="543" y="72"/>
                  </a:lnTo>
                  <a:lnTo>
                    <a:pt x="533" y="86"/>
                  </a:lnTo>
                  <a:lnTo>
                    <a:pt x="421" y="221"/>
                  </a:lnTo>
                  <a:lnTo>
                    <a:pt x="421" y="379"/>
                  </a:lnTo>
                  <a:lnTo>
                    <a:pt x="418" y="402"/>
                  </a:lnTo>
                  <a:lnTo>
                    <a:pt x="409" y="422"/>
                  </a:lnTo>
                  <a:lnTo>
                    <a:pt x="396" y="439"/>
                  </a:lnTo>
                  <a:lnTo>
                    <a:pt x="378" y="453"/>
                  </a:lnTo>
                  <a:lnTo>
                    <a:pt x="357" y="462"/>
                  </a:lnTo>
                  <a:lnTo>
                    <a:pt x="335" y="465"/>
                  </a:lnTo>
                  <a:lnTo>
                    <a:pt x="86" y="465"/>
                  </a:lnTo>
                  <a:lnTo>
                    <a:pt x="63" y="462"/>
                  </a:lnTo>
                  <a:lnTo>
                    <a:pt x="43" y="453"/>
                  </a:lnTo>
                  <a:lnTo>
                    <a:pt x="26" y="439"/>
                  </a:lnTo>
                  <a:lnTo>
                    <a:pt x="12" y="422"/>
                  </a:lnTo>
                  <a:lnTo>
                    <a:pt x="3" y="402"/>
                  </a:lnTo>
                  <a:lnTo>
                    <a:pt x="0" y="379"/>
                  </a:lnTo>
                  <a:lnTo>
                    <a:pt x="0" y="106"/>
                  </a:lnTo>
                  <a:lnTo>
                    <a:pt x="3" y="84"/>
                  </a:lnTo>
                  <a:lnTo>
                    <a:pt x="12" y="63"/>
                  </a:lnTo>
                  <a:lnTo>
                    <a:pt x="26" y="46"/>
                  </a:lnTo>
                  <a:lnTo>
                    <a:pt x="43" y="32"/>
                  </a:lnTo>
                  <a:lnTo>
                    <a:pt x="63" y="23"/>
                  </a:lnTo>
                  <a:lnTo>
                    <a:pt x="86" y="20"/>
                  </a:lnTo>
                  <a:lnTo>
                    <a:pt x="335" y="20"/>
                  </a:lnTo>
                  <a:lnTo>
                    <a:pt x="354" y="22"/>
                  </a:lnTo>
                  <a:lnTo>
                    <a:pt x="372" y="29"/>
                  </a:lnTo>
                  <a:lnTo>
                    <a:pt x="387" y="39"/>
                  </a:lnTo>
                  <a:lnTo>
                    <a:pt x="401" y="52"/>
                  </a:lnTo>
                  <a:lnTo>
                    <a:pt x="410" y="67"/>
                  </a:lnTo>
                  <a:lnTo>
                    <a:pt x="452" y="18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94"/>
            <p:cNvSpPr>
              <a:spLocks noEditPoints="1"/>
            </p:cNvSpPr>
            <p:nvPr/>
          </p:nvSpPr>
          <p:spPr bwMode="auto">
            <a:xfrm>
              <a:off x="-1041401" y="2962275"/>
              <a:ext cx="96838" cy="82550"/>
            </a:xfrm>
            <a:custGeom>
              <a:avLst/>
              <a:gdLst>
                <a:gd name="T0" fmla="*/ 75 w 546"/>
                <a:gd name="T1" fmla="*/ 85 h 470"/>
                <a:gd name="T2" fmla="*/ 60 w 546"/>
                <a:gd name="T3" fmla="*/ 101 h 470"/>
                <a:gd name="T4" fmla="*/ 58 w 546"/>
                <a:gd name="T5" fmla="*/ 384 h 470"/>
                <a:gd name="T6" fmla="*/ 66 w 546"/>
                <a:gd name="T7" fmla="*/ 404 h 470"/>
                <a:gd name="T8" fmla="*/ 86 w 546"/>
                <a:gd name="T9" fmla="*/ 412 h 470"/>
                <a:gd name="T10" fmla="*/ 345 w 546"/>
                <a:gd name="T11" fmla="*/ 410 h 470"/>
                <a:gd name="T12" fmla="*/ 361 w 546"/>
                <a:gd name="T13" fmla="*/ 395 h 470"/>
                <a:gd name="T14" fmla="*/ 363 w 546"/>
                <a:gd name="T15" fmla="*/ 289 h 470"/>
                <a:gd name="T16" fmla="*/ 292 w 546"/>
                <a:gd name="T17" fmla="*/ 371 h 470"/>
                <a:gd name="T18" fmla="*/ 265 w 546"/>
                <a:gd name="T19" fmla="*/ 379 h 470"/>
                <a:gd name="T20" fmla="*/ 262 w 546"/>
                <a:gd name="T21" fmla="*/ 381 h 470"/>
                <a:gd name="T22" fmla="*/ 236 w 546"/>
                <a:gd name="T23" fmla="*/ 373 h 470"/>
                <a:gd name="T24" fmla="*/ 101 w 546"/>
                <a:gd name="T25" fmla="*/ 251 h 470"/>
                <a:gd name="T26" fmla="*/ 85 w 546"/>
                <a:gd name="T27" fmla="*/ 222 h 470"/>
                <a:gd name="T28" fmla="*/ 89 w 546"/>
                <a:gd name="T29" fmla="*/ 190 h 470"/>
                <a:gd name="T30" fmla="*/ 112 w 546"/>
                <a:gd name="T31" fmla="*/ 166 h 470"/>
                <a:gd name="T32" fmla="*/ 143 w 546"/>
                <a:gd name="T33" fmla="*/ 159 h 470"/>
                <a:gd name="T34" fmla="*/ 173 w 546"/>
                <a:gd name="T35" fmla="*/ 173 h 470"/>
                <a:gd name="T36" fmla="*/ 232 w 546"/>
                <a:gd name="T37" fmla="*/ 223 h 470"/>
                <a:gd name="T38" fmla="*/ 264 w 546"/>
                <a:gd name="T39" fmla="*/ 226 h 470"/>
                <a:gd name="T40" fmla="*/ 292 w 546"/>
                <a:gd name="T41" fmla="*/ 209 h 470"/>
                <a:gd name="T42" fmla="*/ 363 w 546"/>
                <a:gd name="T43" fmla="*/ 111 h 470"/>
                <a:gd name="T44" fmla="*/ 355 w 546"/>
                <a:gd name="T45" fmla="*/ 91 h 470"/>
                <a:gd name="T46" fmla="*/ 335 w 546"/>
                <a:gd name="T47" fmla="*/ 83 h 470"/>
                <a:gd name="T48" fmla="*/ 497 w 546"/>
                <a:gd name="T49" fmla="*/ 0 h 470"/>
                <a:gd name="T50" fmla="*/ 527 w 546"/>
                <a:gd name="T51" fmla="*/ 11 h 470"/>
                <a:gd name="T52" fmla="*/ 545 w 546"/>
                <a:gd name="T53" fmla="*/ 40 h 470"/>
                <a:gd name="T54" fmla="*/ 543 w 546"/>
                <a:gd name="T55" fmla="*/ 72 h 470"/>
                <a:gd name="T56" fmla="*/ 421 w 546"/>
                <a:gd name="T57" fmla="*/ 221 h 470"/>
                <a:gd name="T58" fmla="*/ 418 w 546"/>
                <a:gd name="T59" fmla="*/ 406 h 470"/>
                <a:gd name="T60" fmla="*/ 396 w 546"/>
                <a:gd name="T61" fmla="*/ 444 h 470"/>
                <a:gd name="T62" fmla="*/ 357 w 546"/>
                <a:gd name="T63" fmla="*/ 467 h 470"/>
                <a:gd name="T64" fmla="*/ 86 w 546"/>
                <a:gd name="T65" fmla="*/ 470 h 470"/>
                <a:gd name="T66" fmla="*/ 43 w 546"/>
                <a:gd name="T67" fmla="*/ 458 h 470"/>
                <a:gd name="T68" fmla="*/ 12 w 546"/>
                <a:gd name="T69" fmla="*/ 427 h 470"/>
                <a:gd name="T70" fmla="*/ 0 w 546"/>
                <a:gd name="T71" fmla="*/ 384 h 470"/>
                <a:gd name="T72" fmla="*/ 3 w 546"/>
                <a:gd name="T73" fmla="*/ 89 h 470"/>
                <a:gd name="T74" fmla="*/ 26 w 546"/>
                <a:gd name="T75" fmla="*/ 51 h 470"/>
                <a:gd name="T76" fmla="*/ 63 w 546"/>
                <a:gd name="T77" fmla="*/ 28 h 470"/>
                <a:gd name="T78" fmla="*/ 335 w 546"/>
                <a:gd name="T79" fmla="*/ 25 h 470"/>
                <a:gd name="T80" fmla="*/ 378 w 546"/>
                <a:gd name="T81" fmla="*/ 38 h 470"/>
                <a:gd name="T82" fmla="*/ 409 w 546"/>
                <a:gd name="T83" fmla="*/ 70 h 470"/>
                <a:gd name="T84" fmla="*/ 465 w 546"/>
                <a:gd name="T85" fmla="*/ 7 h 470"/>
                <a:gd name="T86" fmla="*/ 497 w 546"/>
                <a:gd name="T8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70">
                  <a:moveTo>
                    <a:pt x="86" y="83"/>
                  </a:moveTo>
                  <a:lnTo>
                    <a:pt x="75" y="85"/>
                  </a:lnTo>
                  <a:lnTo>
                    <a:pt x="66" y="91"/>
                  </a:lnTo>
                  <a:lnTo>
                    <a:pt x="60" y="101"/>
                  </a:lnTo>
                  <a:lnTo>
                    <a:pt x="58" y="111"/>
                  </a:lnTo>
                  <a:lnTo>
                    <a:pt x="58" y="384"/>
                  </a:lnTo>
                  <a:lnTo>
                    <a:pt x="60" y="395"/>
                  </a:lnTo>
                  <a:lnTo>
                    <a:pt x="66" y="404"/>
                  </a:lnTo>
                  <a:lnTo>
                    <a:pt x="75" y="410"/>
                  </a:lnTo>
                  <a:lnTo>
                    <a:pt x="86" y="412"/>
                  </a:lnTo>
                  <a:lnTo>
                    <a:pt x="335" y="412"/>
                  </a:lnTo>
                  <a:lnTo>
                    <a:pt x="345" y="410"/>
                  </a:lnTo>
                  <a:lnTo>
                    <a:pt x="355" y="404"/>
                  </a:lnTo>
                  <a:lnTo>
                    <a:pt x="361" y="395"/>
                  </a:lnTo>
                  <a:lnTo>
                    <a:pt x="363" y="384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1"/>
                  </a:lnTo>
                  <a:lnTo>
                    <a:pt x="279" y="377"/>
                  </a:lnTo>
                  <a:lnTo>
                    <a:pt x="265" y="379"/>
                  </a:lnTo>
                  <a:lnTo>
                    <a:pt x="264" y="379"/>
                  </a:lnTo>
                  <a:lnTo>
                    <a:pt x="262" y="381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2"/>
                  </a:lnTo>
                  <a:lnTo>
                    <a:pt x="84" y="206"/>
                  </a:lnTo>
                  <a:lnTo>
                    <a:pt x="89" y="190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59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7"/>
                  </a:lnTo>
                  <a:lnTo>
                    <a:pt x="264" y="226"/>
                  </a:lnTo>
                  <a:lnTo>
                    <a:pt x="279" y="220"/>
                  </a:lnTo>
                  <a:lnTo>
                    <a:pt x="292" y="209"/>
                  </a:lnTo>
                  <a:lnTo>
                    <a:pt x="363" y="124"/>
                  </a:lnTo>
                  <a:lnTo>
                    <a:pt x="363" y="111"/>
                  </a:lnTo>
                  <a:lnTo>
                    <a:pt x="361" y="101"/>
                  </a:lnTo>
                  <a:lnTo>
                    <a:pt x="355" y="91"/>
                  </a:lnTo>
                  <a:lnTo>
                    <a:pt x="345" y="85"/>
                  </a:lnTo>
                  <a:lnTo>
                    <a:pt x="335" y="83"/>
                  </a:lnTo>
                  <a:lnTo>
                    <a:pt x="86" y="83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1"/>
                  </a:lnTo>
                  <a:lnTo>
                    <a:pt x="539" y="24"/>
                  </a:lnTo>
                  <a:lnTo>
                    <a:pt x="545" y="40"/>
                  </a:lnTo>
                  <a:lnTo>
                    <a:pt x="546" y="56"/>
                  </a:lnTo>
                  <a:lnTo>
                    <a:pt x="543" y="72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84"/>
                  </a:lnTo>
                  <a:lnTo>
                    <a:pt x="418" y="406"/>
                  </a:lnTo>
                  <a:lnTo>
                    <a:pt x="409" y="427"/>
                  </a:lnTo>
                  <a:lnTo>
                    <a:pt x="396" y="444"/>
                  </a:lnTo>
                  <a:lnTo>
                    <a:pt x="378" y="458"/>
                  </a:lnTo>
                  <a:lnTo>
                    <a:pt x="357" y="467"/>
                  </a:lnTo>
                  <a:lnTo>
                    <a:pt x="335" y="470"/>
                  </a:lnTo>
                  <a:lnTo>
                    <a:pt x="86" y="470"/>
                  </a:lnTo>
                  <a:lnTo>
                    <a:pt x="63" y="467"/>
                  </a:lnTo>
                  <a:lnTo>
                    <a:pt x="43" y="458"/>
                  </a:lnTo>
                  <a:lnTo>
                    <a:pt x="26" y="444"/>
                  </a:lnTo>
                  <a:lnTo>
                    <a:pt x="12" y="427"/>
                  </a:lnTo>
                  <a:lnTo>
                    <a:pt x="3" y="406"/>
                  </a:lnTo>
                  <a:lnTo>
                    <a:pt x="0" y="384"/>
                  </a:lnTo>
                  <a:lnTo>
                    <a:pt x="0" y="111"/>
                  </a:lnTo>
                  <a:lnTo>
                    <a:pt x="3" y="89"/>
                  </a:lnTo>
                  <a:lnTo>
                    <a:pt x="12" y="68"/>
                  </a:lnTo>
                  <a:lnTo>
                    <a:pt x="26" y="51"/>
                  </a:lnTo>
                  <a:lnTo>
                    <a:pt x="43" y="37"/>
                  </a:lnTo>
                  <a:lnTo>
                    <a:pt x="63" y="28"/>
                  </a:lnTo>
                  <a:lnTo>
                    <a:pt x="86" y="25"/>
                  </a:lnTo>
                  <a:lnTo>
                    <a:pt x="335" y="25"/>
                  </a:lnTo>
                  <a:lnTo>
                    <a:pt x="358" y="28"/>
                  </a:lnTo>
                  <a:lnTo>
                    <a:pt x="378" y="38"/>
                  </a:lnTo>
                  <a:lnTo>
                    <a:pt x="396" y="52"/>
                  </a:lnTo>
                  <a:lnTo>
                    <a:pt x="409" y="70"/>
                  </a:lnTo>
                  <a:lnTo>
                    <a:pt x="452" y="19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95"/>
            <p:cNvSpPr>
              <a:spLocks/>
            </p:cNvSpPr>
            <p:nvPr/>
          </p:nvSpPr>
          <p:spPr bwMode="auto">
            <a:xfrm>
              <a:off x="-919163" y="2792413"/>
              <a:ext cx="169863" cy="17463"/>
            </a:xfrm>
            <a:custGeom>
              <a:avLst/>
              <a:gdLst>
                <a:gd name="T0" fmla="*/ 53 w 969"/>
                <a:gd name="T1" fmla="*/ 0 h 106"/>
                <a:gd name="T2" fmla="*/ 916 w 969"/>
                <a:gd name="T3" fmla="*/ 0 h 106"/>
                <a:gd name="T4" fmla="*/ 933 w 969"/>
                <a:gd name="T5" fmla="*/ 3 h 106"/>
                <a:gd name="T6" fmla="*/ 947 w 969"/>
                <a:gd name="T7" fmla="*/ 11 h 106"/>
                <a:gd name="T8" fmla="*/ 959 w 969"/>
                <a:gd name="T9" fmla="*/ 22 h 106"/>
                <a:gd name="T10" fmla="*/ 966 w 969"/>
                <a:gd name="T11" fmla="*/ 37 h 106"/>
                <a:gd name="T12" fmla="*/ 969 w 969"/>
                <a:gd name="T13" fmla="*/ 54 h 106"/>
                <a:gd name="T14" fmla="*/ 966 w 969"/>
                <a:gd name="T15" fmla="*/ 70 h 106"/>
                <a:gd name="T16" fmla="*/ 959 w 969"/>
                <a:gd name="T17" fmla="*/ 85 h 106"/>
                <a:gd name="T18" fmla="*/ 947 w 969"/>
                <a:gd name="T19" fmla="*/ 97 h 106"/>
                <a:gd name="T20" fmla="*/ 933 w 969"/>
                <a:gd name="T21" fmla="*/ 104 h 106"/>
                <a:gd name="T22" fmla="*/ 916 w 969"/>
                <a:gd name="T23" fmla="*/ 106 h 106"/>
                <a:gd name="T24" fmla="*/ 53 w 969"/>
                <a:gd name="T25" fmla="*/ 106 h 106"/>
                <a:gd name="T26" fmla="*/ 36 w 969"/>
                <a:gd name="T27" fmla="*/ 104 h 106"/>
                <a:gd name="T28" fmla="*/ 22 w 969"/>
                <a:gd name="T29" fmla="*/ 97 h 106"/>
                <a:gd name="T30" fmla="*/ 10 w 969"/>
                <a:gd name="T31" fmla="*/ 85 h 106"/>
                <a:gd name="T32" fmla="*/ 3 w 969"/>
                <a:gd name="T33" fmla="*/ 70 h 106"/>
                <a:gd name="T34" fmla="*/ 0 w 969"/>
                <a:gd name="T35" fmla="*/ 54 h 106"/>
                <a:gd name="T36" fmla="*/ 3 w 969"/>
                <a:gd name="T37" fmla="*/ 37 h 106"/>
                <a:gd name="T38" fmla="*/ 10 w 969"/>
                <a:gd name="T39" fmla="*/ 22 h 106"/>
                <a:gd name="T40" fmla="*/ 22 w 969"/>
                <a:gd name="T41" fmla="*/ 11 h 106"/>
                <a:gd name="T42" fmla="*/ 36 w 969"/>
                <a:gd name="T43" fmla="*/ 3 h 106"/>
                <a:gd name="T44" fmla="*/ 53 w 969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6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2"/>
                  </a:lnTo>
                  <a:lnTo>
                    <a:pt x="966" y="37"/>
                  </a:lnTo>
                  <a:lnTo>
                    <a:pt x="969" y="54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7"/>
                  </a:lnTo>
                  <a:lnTo>
                    <a:pt x="933" y="104"/>
                  </a:lnTo>
                  <a:lnTo>
                    <a:pt x="916" y="106"/>
                  </a:lnTo>
                  <a:lnTo>
                    <a:pt x="53" y="106"/>
                  </a:lnTo>
                  <a:lnTo>
                    <a:pt x="36" y="104"/>
                  </a:lnTo>
                  <a:lnTo>
                    <a:pt x="22" y="97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4"/>
                  </a:lnTo>
                  <a:lnTo>
                    <a:pt x="3" y="37"/>
                  </a:lnTo>
                  <a:lnTo>
                    <a:pt x="10" y="22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96"/>
            <p:cNvSpPr>
              <a:spLocks/>
            </p:cNvSpPr>
            <p:nvPr/>
          </p:nvSpPr>
          <p:spPr bwMode="auto">
            <a:xfrm>
              <a:off x="-919163" y="2882900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3 h 107"/>
                <a:gd name="T6" fmla="*/ 947 w 969"/>
                <a:gd name="T7" fmla="*/ 11 h 107"/>
                <a:gd name="T8" fmla="*/ 959 w 969"/>
                <a:gd name="T9" fmla="*/ 23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0 h 107"/>
                <a:gd name="T16" fmla="*/ 959 w 969"/>
                <a:gd name="T17" fmla="*/ 85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5 h 107"/>
                <a:gd name="T32" fmla="*/ 3 w 969"/>
                <a:gd name="T33" fmla="*/ 70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3 h 107"/>
                <a:gd name="T40" fmla="*/ 22 w 969"/>
                <a:gd name="T41" fmla="*/ 11 h 107"/>
                <a:gd name="T42" fmla="*/ 36 w 969"/>
                <a:gd name="T43" fmla="*/ 3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3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7" name="Freeform 97"/>
            <p:cNvSpPr>
              <a:spLocks/>
            </p:cNvSpPr>
            <p:nvPr/>
          </p:nvSpPr>
          <p:spPr bwMode="auto">
            <a:xfrm>
              <a:off x="-919163" y="2974975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2 h 107"/>
                <a:gd name="T6" fmla="*/ 947 w 969"/>
                <a:gd name="T7" fmla="*/ 10 h 107"/>
                <a:gd name="T8" fmla="*/ 959 w 969"/>
                <a:gd name="T9" fmla="*/ 22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1 h 107"/>
                <a:gd name="T16" fmla="*/ 959 w 969"/>
                <a:gd name="T17" fmla="*/ 84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4 h 107"/>
                <a:gd name="T32" fmla="*/ 3 w 969"/>
                <a:gd name="T33" fmla="*/ 71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2 h 107"/>
                <a:gd name="T40" fmla="*/ 22 w 969"/>
                <a:gd name="T41" fmla="*/ 10 h 107"/>
                <a:gd name="T42" fmla="*/ 36 w 969"/>
                <a:gd name="T43" fmla="*/ 2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2"/>
                  </a:lnTo>
                  <a:lnTo>
                    <a:pt x="947" y="10"/>
                  </a:lnTo>
                  <a:lnTo>
                    <a:pt x="959" y="22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1"/>
                  </a:lnTo>
                  <a:lnTo>
                    <a:pt x="959" y="84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4"/>
                  </a:lnTo>
                  <a:lnTo>
                    <a:pt x="3" y="71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2"/>
                  </a:lnTo>
                  <a:lnTo>
                    <a:pt x="22" y="10"/>
                  </a:lnTo>
                  <a:lnTo>
                    <a:pt x="36" y="2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18" name="Прямоугольник 117"/>
          <p:cNvSpPr/>
          <p:nvPr/>
        </p:nvSpPr>
        <p:spPr>
          <a:xfrm>
            <a:off x="4427984" y="2132856"/>
            <a:ext cx="42484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Заголовок 1"/>
          <p:cNvSpPr txBox="1">
            <a:spLocks/>
          </p:cNvSpPr>
          <p:nvPr/>
        </p:nvSpPr>
        <p:spPr>
          <a:xfrm>
            <a:off x="8748464" y="6497960"/>
            <a:ext cx="233053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121" name="Rounded Rectangle 13">
            <a:hlinkClick r:id="rId3"/>
          </p:cNvPr>
          <p:cNvSpPr/>
          <p:nvPr/>
        </p:nvSpPr>
        <p:spPr>
          <a:xfrm>
            <a:off x="380678" y="4737566"/>
            <a:ext cx="2304256" cy="1281286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914126"/>
            <a:r>
              <a:rPr lang="ru-RU" sz="1799" b="1" kern="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етоды приватизации</a:t>
            </a:r>
            <a:endParaRPr lang="es-UY" sz="1799" b="1" kern="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6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365104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797152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5229200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5661248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6093296"/>
            <a:ext cx="432048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Group 51"/>
          <p:cNvGrpSpPr/>
          <p:nvPr/>
        </p:nvGrpSpPr>
        <p:grpSpPr>
          <a:xfrm>
            <a:off x="3275856" y="4399012"/>
            <a:ext cx="5589134" cy="2098949"/>
            <a:chOff x="3074988" y="1445452"/>
            <a:chExt cx="4198938" cy="4448194"/>
          </a:xfrm>
          <a:solidFill>
            <a:schemeClr val="bg1"/>
          </a:solidFill>
        </p:grpSpPr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3074988" y="1445452"/>
              <a:ext cx="4198938" cy="832829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dash"/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73" name="Rectangle 7"/>
            <p:cNvSpPr>
              <a:spLocks noChangeArrowheads="1"/>
            </p:cNvSpPr>
            <p:nvPr/>
          </p:nvSpPr>
          <p:spPr bwMode="auto">
            <a:xfrm>
              <a:off x="3074988" y="2352895"/>
              <a:ext cx="4198938" cy="700087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dash"/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auto">
            <a:xfrm>
              <a:off x="3074988" y="3152091"/>
              <a:ext cx="4198938" cy="810589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dash"/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75" name="Rectangle 9"/>
            <p:cNvSpPr>
              <a:spLocks noChangeArrowheads="1"/>
            </p:cNvSpPr>
            <p:nvPr/>
          </p:nvSpPr>
          <p:spPr bwMode="auto">
            <a:xfrm>
              <a:off x="3074988" y="4083721"/>
              <a:ext cx="4198938" cy="825500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dash"/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76" name="Rectangle 10"/>
            <p:cNvSpPr>
              <a:spLocks noChangeArrowheads="1"/>
            </p:cNvSpPr>
            <p:nvPr/>
          </p:nvSpPr>
          <p:spPr bwMode="auto">
            <a:xfrm>
              <a:off x="3074988" y="5091116"/>
              <a:ext cx="4198938" cy="802530"/>
            </a:xfrm>
            <a:prstGeom prst="rect">
              <a:avLst/>
            </a:prstGeom>
            <a:grpFill/>
            <a:ln w="0">
              <a:solidFill>
                <a:schemeClr val="tx1"/>
              </a:solidFill>
              <a:prstDash val="dash"/>
              <a:miter lim="800000"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</p:grpSp>
      <p:sp>
        <p:nvSpPr>
          <p:cNvPr id="123" name="Прямоугольник 122"/>
          <p:cNvSpPr/>
          <p:nvPr/>
        </p:nvSpPr>
        <p:spPr>
          <a:xfrm>
            <a:off x="3491880" y="4399012"/>
            <a:ext cx="53731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Двухэтапный конкурс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3491880" y="4840585"/>
            <a:ext cx="53731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Вывод на </a:t>
            </a:r>
            <a:r>
              <a:rPr lang="en-US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IPO</a:t>
            </a:r>
            <a:r>
              <a:rPr lang="kk-KZ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/</a:t>
            </a:r>
            <a:r>
              <a:rPr lang="en-US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SPO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3491880" y="5244849"/>
            <a:ext cx="5373108" cy="345359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Прямая продажа стратегическим инвесторам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3491880" y="5683349"/>
            <a:ext cx="5373109" cy="338554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Доверительное управление с последующей продажей</a:t>
            </a: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27" name="Прямоугольник 126"/>
          <p:cNvSpPr/>
          <p:nvPr/>
        </p:nvSpPr>
        <p:spPr>
          <a:xfrm>
            <a:off x="3482355" y="6150446"/>
            <a:ext cx="5373110" cy="338554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>
            <a:spAutoFit/>
          </a:bodyPr>
          <a:lstStyle/>
          <a:p>
            <a:pPr lvl="0"/>
            <a:r>
              <a:rPr lang="ru-RU" sz="1600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Продажа объектов через механизмы ГЧП</a:t>
            </a:r>
          </a:p>
        </p:txBody>
      </p:sp>
    </p:spTree>
    <p:extLst>
      <p:ext uri="{BB962C8B-B14F-4D97-AF65-F5344CB8AC3E}">
        <p14:creationId xmlns:p14="http://schemas.microsoft.com/office/powerpoint/2010/main" val="188046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5</a:t>
            </a:fld>
            <a:endParaRPr lang="en-US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76672"/>
            <a:ext cx="9135848" cy="1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Заголовок 1"/>
          <p:cNvSpPr txBox="1">
            <a:spLocks/>
          </p:cNvSpPr>
          <p:nvPr/>
        </p:nvSpPr>
        <p:spPr>
          <a:xfrm>
            <a:off x="0" y="0"/>
            <a:ext cx="9144000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4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ИСПОЛНЕНИЕ КОМПЛЕКСНОГО ПЛАНА ПРИВАТИЗАЦИИ</a:t>
            </a:r>
            <a:endParaRPr lang="ru-RU" sz="24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0" y="3573016"/>
            <a:ext cx="9144000" cy="0"/>
          </a:xfrm>
          <a:prstGeom prst="line">
            <a:avLst/>
          </a:prstGeom>
          <a:ln w="254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325630"/>
              </p:ext>
            </p:extLst>
          </p:nvPr>
        </p:nvGraphicFramePr>
        <p:xfrm>
          <a:off x="0" y="764705"/>
          <a:ext cx="9127696" cy="27696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3448"/>
                <a:gridCol w="792088"/>
                <a:gridCol w="1584176"/>
                <a:gridCol w="1152128"/>
                <a:gridCol w="1008112"/>
                <a:gridCol w="1368152"/>
                <a:gridCol w="899592"/>
              </a:tblGrid>
              <a:tr h="55166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ИД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ОБСТВЕННОСТИ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СЕГО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ЫСТАВЛЕНЫ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ДАНЫ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ЦЕНА, (МЛН.ТГ.)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редпродаж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ru-RU" sz="1400" baseline="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одго-ка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икв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е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/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орг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е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</a:tr>
              <a:tr h="55166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спубликанская собственность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89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33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8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498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</a:tr>
              <a:tr h="55166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ммунальная собственность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441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65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16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5 367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3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7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</a:tr>
              <a:tr h="33734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ктивы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ц.холдингов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46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97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 236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6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2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</a:tr>
              <a:tr h="33734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ктивы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ц.компаний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26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81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3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666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</a:t>
                      </a:r>
                      <a:endParaRPr lang="ru-RU" sz="1400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</a:tr>
              <a:tr h="40661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902</a:t>
                      </a:r>
                      <a:endParaRPr lang="ru-RU" sz="1400" b="1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476</a:t>
                      </a:r>
                      <a:endParaRPr lang="ru-RU" sz="1400" b="1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367</a:t>
                      </a:r>
                      <a:endParaRPr lang="ru-RU" sz="1400" b="1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4 767</a:t>
                      </a:r>
                      <a:endParaRPr lang="ru-RU" sz="1400" b="1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45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5</a:t>
                      </a:r>
                      <a:endParaRPr lang="ru-RU" sz="1400" b="1" u="non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38" name="Прямая соединительная линия 37"/>
          <p:cNvCxnSpPr/>
          <p:nvPr/>
        </p:nvCxnSpPr>
        <p:spPr>
          <a:xfrm>
            <a:off x="0" y="1340768"/>
            <a:ext cx="9144000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0" y="1844824"/>
            <a:ext cx="9144000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0" y="242088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8152" y="278092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0" y="314096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0" y="836712"/>
            <a:ext cx="9144000" cy="0"/>
          </a:xfrm>
          <a:prstGeom prst="line">
            <a:avLst/>
          </a:prstGeom>
          <a:ln w="254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Заголовок 1"/>
          <p:cNvSpPr txBox="1">
            <a:spLocks/>
          </p:cNvSpPr>
          <p:nvPr/>
        </p:nvSpPr>
        <p:spPr>
          <a:xfrm>
            <a:off x="-180528" y="404664"/>
            <a:ext cx="9144000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0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2016 – 2017 годы</a:t>
            </a:r>
            <a:endParaRPr lang="ru-RU" sz="20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2339752" y="836712"/>
            <a:ext cx="0" cy="2736304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4716016" y="908720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5868144" y="908720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6876256" y="908720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3131840" y="836712"/>
            <a:ext cx="0" cy="2736304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9" name="Таблица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564229"/>
              </p:ext>
            </p:extLst>
          </p:nvPr>
        </p:nvGraphicFramePr>
        <p:xfrm>
          <a:off x="8152" y="3979069"/>
          <a:ext cx="9135848" cy="29783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2319"/>
                <a:gridCol w="788935"/>
                <a:gridCol w="1577870"/>
                <a:gridCol w="1147542"/>
                <a:gridCol w="1075820"/>
                <a:gridCol w="1362706"/>
                <a:gridCol w="860656"/>
              </a:tblGrid>
              <a:tr h="60205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ИД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ОБСТВЕННОСТИ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СЕГО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ЫСТАВЛЕНЫ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ДАНЫ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ЦЕНА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МЛН.ТГ.)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редпродаж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ru-RU" sz="1400" baseline="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одго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-ка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икв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е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/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орг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е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 anchor="ctr">
                    <a:solidFill>
                      <a:schemeClr val="bg1"/>
                    </a:solidFill>
                  </a:tcPr>
                </a:tc>
              </a:tr>
              <a:tr h="42077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спубликанская собственность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1 91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</a:tr>
              <a:tr h="49503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ммунальная собственность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8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73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28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30 88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</a:tr>
              <a:tr h="3305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ктивы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ц.холдингов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9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5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52 377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4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</a:tr>
              <a:tr h="3305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ктивы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ц.компаний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0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5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31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 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96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3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</a:tr>
              <a:tr h="4648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0568" marR="60568" marT="65615" marB="6561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461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89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90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7 871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0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8792" marR="8792" marT="9525" marB="9525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62</a:t>
                      </a:r>
                      <a:endParaRPr lang="ru-RU" sz="1400" b="1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70338" marR="70338" marT="76200" marB="7620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0" name="Заголовок 1"/>
          <p:cNvSpPr txBox="1">
            <a:spLocks/>
          </p:cNvSpPr>
          <p:nvPr/>
        </p:nvSpPr>
        <p:spPr>
          <a:xfrm>
            <a:off x="323528" y="3645024"/>
            <a:ext cx="9144000" cy="288032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0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ИТОГИ 2017 года</a:t>
            </a:r>
            <a:endParaRPr lang="ru-RU" sz="20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339752" y="4077072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0" y="4005064"/>
            <a:ext cx="9144000" cy="0"/>
          </a:xfrm>
          <a:prstGeom prst="line">
            <a:avLst/>
          </a:prstGeom>
          <a:ln w="254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3131840" y="4077072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4716016" y="4077072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5940152" y="4077072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6876256" y="4005064"/>
            <a:ext cx="0" cy="2736304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>
            <a:off x="8244408" y="4077072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0" y="4509120"/>
            <a:ext cx="9144000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0" y="5085184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0" y="566124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0" y="602128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8152" y="6381328"/>
            <a:ext cx="9135848" cy="0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8244408" y="908720"/>
            <a:ext cx="0" cy="2664296"/>
          </a:xfrm>
          <a:prstGeom prst="line">
            <a:avLst/>
          </a:prstGeom>
          <a:ln w="12700">
            <a:solidFill>
              <a:srgbClr val="082C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2" descr="C:\Users\zagidullina_g\Documents\images (7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3714"/>
            <a:ext cx="2023697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C:\Users\zagidullina_g\Documents\images (7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01008"/>
            <a:ext cx="2051720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Заголовок 1"/>
          <p:cNvSpPr txBox="1">
            <a:spLocks/>
          </p:cNvSpPr>
          <p:nvPr/>
        </p:nvSpPr>
        <p:spPr>
          <a:xfrm>
            <a:off x="8910947" y="6569968"/>
            <a:ext cx="233053" cy="288032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5</a:t>
            </a:r>
            <a:endParaRPr lang="ru-RU" sz="1200" b="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63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2" y="15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7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89"/>
          <p:cNvGrpSpPr/>
          <p:nvPr/>
        </p:nvGrpSpPr>
        <p:grpSpPr>
          <a:xfrm>
            <a:off x="2604313" y="708699"/>
            <a:ext cx="6475269" cy="266699"/>
            <a:chOff x="2863851" y="1038225"/>
            <a:chExt cx="5600505" cy="225770"/>
          </a:xfrm>
          <a:solidFill>
            <a:srgbClr val="002060"/>
          </a:solidFill>
        </p:grpSpPr>
        <p:sp>
          <p:nvSpPr>
            <p:cNvPr id="208" name="ValueChainStarter"/>
            <p:cNvSpPr/>
            <p:nvPr/>
          </p:nvSpPr>
          <p:spPr>
            <a:xfrm>
              <a:off x="2863851" y="1038225"/>
              <a:ext cx="1207281" cy="225770"/>
            </a:xfrm>
            <a:prstGeom prst="homePlate">
              <a:avLst>
                <a:gd name="adj" fmla="val 28571"/>
              </a:avLst>
            </a:prstGeom>
            <a:grpFill/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6</a:t>
              </a:r>
              <a:endPara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9" name="ValueChainStarter"/>
            <p:cNvSpPr/>
            <p:nvPr/>
          </p:nvSpPr>
          <p:spPr>
            <a:xfrm>
              <a:off x="3962157" y="1038225"/>
              <a:ext cx="1207281" cy="225770"/>
            </a:xfrm>
            <a:prstGeom prst="chevron">
              <a:avLst>
                <a:gd name="adj" fmla="val 28571"/>
              </a:avLst>
            </a:prstGeom>
            <a:grpFill/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7</a:t>
              </a:r>
              <a:endPara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7" name="ValueChainStarter"/>
            <p:cNvSpPr/>
            <p:nvPr/>
          </p:nvSpPr>
          <p:spPr>
            <a:xfrm>
              <a:off x="5060463" y="1038225"/>
              <a:ext cx="1207281" cy="225770"/>
            </a:xfrm>
            <a:prstGeom prst="chevron">
              <a:avLst>
                <a:gd name="adj" fmla="val 28571"/>
              </a:avLst>
            </a:prstGeom>
            <a:grpFill/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8</a:t>
              </a:r>
              <a:endPara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8" name="ValueChainStarter"/>
            <p:cNvSpPr/>
            <p:nvPr/>
          </p:nvSpPr>
          <p:spPr>
            <a:xfrm>
              <a:off x="6158769" y="1038225"/>
              <a:ext cx="1207282" cy="225770"/>
            </a:xfrm>
            <a:prstGeom prst="chevron">
              <a:avLst>
                <a:gd name="adj" fmla="val 28571"/>
              </a:avLst>
            </a:prstGeom>
            <a:grpFill/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19</a:t>
              </a:r>
              <a:endPara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9" name="ValueChainStarter"/>
            <p:cNvSpPr/>
            <p:nvPr/>
          </p:nvSpPr>
          <p:spPr>
            <a:xfrm>
              <a:off x="7257075" y="1038225"/>
              <a:ext cx="1207281" cy="225770"/>
            </a:xfrm>
            <a:prstGeom prst="chevron">
              <a:avLst>
                <a:gd name="adj" fmla="val 28571"/>
              </a:avLst>
            </a:prstGeom>
            <a:grpFill/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b="1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020</a:t>
              </a:r>
              <a:endPara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8" name="Rectangle 107"/>
          <p:cNvSpPr/>
          <p:nvPr/>
        </p:nvSpPr>
        <p:spPr>
          <a:xfrm>
            <a:off x="65417" y="1043214"/>
            <a:ext cx="8999580" cy="1804763"/>
          </a:xfrm>
          <a:prstGeom prst="rect">
            <a:avLst/>
          </a:prstGeom>
          <a:noFill/>
          <a:ln w="28575">
            <a:solidFill>
              <a:srgbClr val="EE5617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56794" y="5558873"/>
            <a:ext cx="1295406" cy="555387"/>
          </a:xfrm>
          <a:prstGeom prst="rect">
            <a:avLst/>
          </a:prstGeom>
          <a:noFill/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900" b="1" dirty="0" err="1">
                <a:solidFill>
                  <a:prstClr val="white"/>
                </a:solidFill>
                <a:cs typeface="Arial" pitchFamily="34" charset="0"/>
              </a:rPr>
              <a:t>Тау-Кен</a:t>
            </a:r>
            <a:r>
              <a:rPr lang="ru-RU" sz="900" b="1" dirty="0">
                <a:solidFill>
                  <a:prstClr val="white"/>
                </a:solidFill>
                <a:cs typeface="Arial" pitchFamily="34" charset="0"/>
              </a:rPr>
              <a:t> </a:t>
            </a:r>
            <a:r>
              <a:rPr lang="ru-RU" sz="900" b="1" dirty="0" err="1">
                <a:solidFill>
                  <a:prstClr val="white"/>
                </a:solidFill>
                <a:cs typeface="Arial" pitchFamily="34" charset="0"/>
              </a:rPr>
              <a:t>Самрук</a:t>
            </a:r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452200" y="621853"/>
            <a:ext cx="1162051" cy="43088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r>
              <a:rPr lang="ru-RU" sz="1400" b="1" i="1" dirty="0">
                <a:solidFill>
                  <a:srgbClr val="002673"/>
                </a:solidFill>
                <a:latin typeface="Arial" pitchFamily="34" charset="0"/>
                <a:cs typeface="Arial" pitchFamily="34" charset="0"/>
              </a:rPr>
              <a:t>Способ реализации</a:t>
            </a:r>
            <a:endParaRPr lang="en-US" sz="1400" b="1" i="1" baseline="30000" dirty="0">
              <a:solidFill>
                <a:srgbClr val="0026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2" name="TextBox 281"/>
          <p:cNvSpPr txBox="1"/>
          <p:nvPr/>
        </p:nvSpPr>
        <p:spPr>
          <a:xfrm>
            <a:off x="287727" y="765286"/>
            <a:ext cx="945532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/>
            <a:r>
              <a:rPr lang="ru-RU" sz="1400" b="1" i="1" dirty="0">
                <a:solidFill>
                  <a:srgbClr val="002673"/>
                </a:solidFill>
                <a:latin typeface="Arial" pitchFamily="34" charset="0"/>
                <a:cs typeface="Arial" pitchFamily="34" charset="0"/>
              </a:rPr>
              <a:t>Компания</a:t>
            </a:r>
            <a:endParaRPr lang="en-US" sz="1400" b="1" i="1" dirty="0">
              <a:solidFill>
                <a:srgbClr val="002673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301"/>
          <p:cNvGrpSpPr/>
          <p:nvPr/>
        </p:nvGrpSpPr>
        <p:grpSpPr>
          <a:xfrm>
            <a:off x="1500191" y="968294"/>
            <a:ext cx="1106800" cy="5773077"/>
            <a:chOff x="1625207" y="1458618"/>
            <a:chExt cx="1199033" cy="4812534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1625207" y="1458618"/>
              <a:ext cx="0" cy="4812534"/>
            </a:xfrm>
            <a:prstGeom prst="line">
              <a:avLst/>
            </a:prstGeom>
            <a:ln>
              <a:solidFill>
                <a:srgbClr val="00499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>
              <a:off x="2824240" y="1458618"/>
              <a:ext cx="0" cy="4811054"/>
            </a:xfrm>
            <a:prstGeom prst="line">
              <a:avLst/>
            </a:prstGeom>
            <a:ln>
              <a:solidFill>
                <a:srgbClr val="00499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Oval invers 7"/>
          <p:cNvSpPr>
            <a:spLocks noChangeArrowheads="1"/>
          </p:cNvSpPr>
          <p:nvPr/>
        </p:nvSpPr>
        <p:spPr bwMode="gray">
          <a:xfrm>
            <a:off x="43439" y="5723291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8</a:t>
            </a:r>
          </a:p>
        </p:txBody>
      </p:sp>
      <p:sp>
        <p:nvSpPr>
          <p:cNvPr id="203" name="Rectangle 202"/>
          <p:cNvSpPr/>
          <p:nvPr/>
        </p:nvSpPr>
        <p:spPr>
          <a:xfrm>
            <a:off x="156792" y="6225951"/>
            <a:ext cx="1295408" cy="513097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900" b="1" dirty="0" err="1">
                <a:solidFill>
                  <a:prstClr val="white"/>
                </a:solidFill>
                <a:cs typeface="Arial" pitchFamily="34" charset="0"/>
              </a:rPr>
              <a:t>Qazaq</a:t>
            </a:r>
            <a:r>
              <a:rPr lang="en-US" sz="900" b="1" dirty="0">
                <a:solidFill>
                  <a:prstClr val="white"/>
                </a:solidFill>
                <a:cs typeface="Arial" pitchFamily="34" charset="0"/>
              </a:rPr>
              <a:t> Air</a:t>
            </a:r>
          </a:p>
        </p:txBody>
      </p:sp>
      <p:sp>
        <p:nvSpPr>
          <p:cNvPr id="204" name="Oval invers 7"/>
          <p:cNvSpPr>
            <a:spLocks noChangeArrowheads="1"/>
          </p:cNvSpPr>
          <p:nvPr/>
        </p:nvSpPr>
        <p:spPr bwMode="gray">
          <a:xfrm>
            <a:off x="43439" y="6333263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1512277" y="5474894"/>
            <a:ext cx="1043354" cy="735754"/>
          </a:xfrm>
          <a:prstGeom prst="rect">
            <a:avLst/>
          </a:prstGeom>
          <a:noFill/>
        </p:spPr>
        <p:txBody>
          <a:bodyPr wrap="square" lIns="0" tIns="89999" rIns="0" bIns="89999" rtlCol="0" anchor="t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крытый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вухэтапный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нкурс</a:t>
            </a: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1512282" y="6122966"/>
            <a:ext cx="1101969" cy="735754"/>
          </a:xfrm>
          <a:prstGeom prst="rect">
            <a:avLst/>
          </a:prstGeom>
          <a:noFill/>
        </p:spPr>
        <p:txBody>
          <a:bodyPr wrap="square" lIns="0" tIns="89999" rIns="0" bIns="89999" rtlCol="0" anchor="t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крытый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вухэтапный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нкурс</a:t>
            </a: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27" name="Straight Connector 226"/>
          <p:cNvCxnSpPr/>
          <p:nvPr/>
        </p:nvCxnSpPr>
        <p:spPr>
          <a:xfrm flipH="1">
            <a:off x="3884806" y="958729"/>
            <a:ext cx="18050" cy="57730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/>
          <p:nvPr/>
        </p:nvCxnSpPr>
        <p:spPr>
          <a:xfrm flipH="1">
            <a:off x="5170223" y="958729"/>
            <a:ext cx="10255" cy="57730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/>
          <p:nvPr/>
        </p:nvCxnSpPr>
        <p:spPr>
          <a:xfrm>
            <a:off x="6433130" y="958726"/>
            <a:ext cx="0" cy="577138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/>
        </p:nvCxnSpPr>
        <p:spPr>
          <a:xfrm>
            <a:off x="7696039" y="958729"/>
            <a:ext cx="0" cy="577307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Rectangle 299"/>
          <p:cNvSpPr/>
          <p:nvPr/>
        </p:nvSpPr>
        <p:spPr>
          <a:xfrm>
            <a:off x="2637692" y="5655264"/>
            <a:ext cx="6387726" cy="377463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3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сматривается возможность продажи </a:t>
            </a:r>
            <a:r>
              <a:rPr lang="ru-RU" sz="13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ратегическому </a:t>
            </a:r>
            <a:r>
              <a:rPr lang="ru-RU" sz="13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вестору  </a:t>
            </a:r>
          </a:p>
          <a:p>
            <a:pPr algn="ctr"/>
            <a:r>
              <a:rPr lang="ru-RU" sz="13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 2019-2020 </a:t>
            </a:r>
            <a:r>
              <a:rPr lang="ru-RU" sz="13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г.</a:t>
            </a:r>
            <a:endParaRPr lang="en-US" sz="135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2637692" y="6303334"/>
            <a:ext cx="6387726" cy="378771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3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сматривается возможность продажи стратегическому инвестору  </a:t>
            </a:r>
            <a:endParaRPr lang="ru-RU" sz="135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3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3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9-2020 г.</a:t>
            </a:r>
            <a:endParaRPr lang="en-US" sz="135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156794" y="2936381"/>
            <a:ext cx="1299822" cy="513459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900" b="1" dirty="0" err="1">
                <a:solidFill>
                  <a:prstClr val="white"/>
                </a:solidFill>
                <a:cs typeface="Arial" pitchFamily="34" charset="0"/>
              </a:rPr>
              <a:t>КМГ</a:t>
            </a:r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1" name="Oval invers 3"/>
          <p:cNvSpPr>
            <a:spLocks noChangeArrowheads="1"/>
          </p:cNvSpPr>
          <p:nvPr/>
        </p:nvSpPr>
        <p:spPr bwMode="gray">
          <a:xfrm>
            <a:off x="43439" y="3065579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3" name="TextBox 212"/>
          <p:cNvSpPr txBox="1"/>
          <p:nvPr/>
        </p:nvSpPr>
        <p:spPr>
          <a:xfrm>
            <a:off x="1513423" y="3066886"/>
            <a:ext cx="104335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sp>
        <p:nvSpPr>
          <p:cNvPr id="233" name="Rectangle 232"/>
          <p:cNvSpPr/>
          <p:nvPr/>
        </p:nvSpPr>
        <p:spPr>
          <a:xfrm>
            <a:off x="2643557" y="2969227"/>
            <a:ext cx="3789575" cy="487208"/>
          </a:xfrm>
          <a:prstGeom prst="rect">
            <a:avLst/>
          </a:prstGeom>
          <a:solidFill>
            <a:srgbClr val="F9EFB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дготовительная фаза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6455498" y="2969230"/>
            <a:ext cx="1572886" cy="488421"/>
          </a:xfrm>
          <a:prstGeom prst="rect">
            <a:avLst/>
          </a:prstGeom>
          <a:solidFill>
            <a:srgbClr val="B2B2B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полнение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pic>
        <p:nvPicPr>
          <p:cNvPr id="83" name="Picture 5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317989" y="3043810"/>
            <a:ext cx="1051246" cy="301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156795" y="1674147"/>
            <a:ext cx="1295405" cy="533017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900" b="1" dirty="0">
                <a:solidFill>
                  <a:prstClr val="white"/>
                </a:solidFill>
                <a:cs typeface="Arial" pitchFamily="34" charset="0"/>
              </a:rPr>
              <a:t>КАП</a:t>
            </a:r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2" name="Oval invers 4"/>
          <p:cNvSpPr>
            <a:spLocks noChangeArrowheads="1"/>
          </p:cNvSpPr>
          <p:nvPr/>
        </p:nvSpPr>
        <p:spPr bwMode="gray">
          <a:xfrm>
            <a:off x="68661" y="1796759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Group 102"/>
          <p:cNvGrpSpPr/>
          <p:nvPr/>
        </p:nvGrpSpPr>
        <p:grpSpPr>
          <a:xfrm>
            <a:off x="359956" y="2394227"/>
            <a:ext cx="6095542" cy="397201"/>
            <a:chOff x="389952" y="1580662"/>
            <a:chExt cx="6603504" cy="397201"/>
          </a:xfrm>
        </p:grpSpPr>
        <p:sp>
          <p:nvSpPr>
            <p:cNvPr id="214" name="TextBox 213"/>
            <p:cNvSpPr txBox="1"/>
            <p:nvPr/>
          </p:nvSpPr>
          <p:spPr>
            <a:xfrm>
              <a:off x="1638300" y="1580662"/>
              <a:ext cx="1130300" cy="39720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PO</a:t>
              </a:r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2863850" y="1580662"/>
              <a:ext cx="2748332" cy="397201"/>
            </a:xfrm>
            <a:prstGeom prst="rect">
              <a:avLst/>
            </a:prstGeom>
            <a:solidFill>
              <a:srgbClr val="F9EFBD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Подготовительная фаза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5612182" y="1580662"/>
              <a:ext cx="1381274" cy="397201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3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сполнение </a:t>
              </a:r>
              <a:r>
                <a:rPr lang="en-US" sz="13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PO</a:t>
              </a:r>
            </a:p>
          </p:txBody>
        </p:sp>
        <p:pic>
          <p:nvPicPr>
            <p:cNvPr id="84" name="Picture 9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389952" y="1662961"/>
              <a:ext cx="1097394" cy="2484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10"/>
          <p:cNvSpPr/>
          <p:nvPr/>
        </p:nvSpPr>
        <p:spPr>
          <a:xfrm>
            <a:off x="156795" y="1064833"/>
            <a:ext cx="1295405" cy="521903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8" name="Oval invers 7"/>
          <p:cNvSpPr>
            <a:spLocks noChangeArrowheads="1"/>
          </p:cNvSpPr>
          <p:nvPr/>
        </p:nvSpPr>
        <p:spPr bwMode="gray">
          <a:xfrm>
            <a:off x="61024" y="1191207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6794" y="3572238"/>
            <a:ext cx="1295406" cy="542348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ru-RU" sz="900" b="1" dirty="0" err="1">
                <a:solidFill>
                  <a:prstClr val="white"/>
                </a:solidFill>
                <a:cs typeface="Arial" pitchFamily="34" charset="0"/>
              </a:rPr>
              <a:t>Казпочта</a:t>
            </a:r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7" name="Oval invers 7"/>
          <p:cNvSpPr>
            <a:spLocks noChangeArrowheads="1"/>
          </p:cNvSpPr>
          <p:nvPr/>
        </p:nvSpPr>
        <p:spPr bwMode="gray">
          <a:xfrm>
            <a:off x="43439" y="3727641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1512282" y="3562711"/>
            <a:ext cx="1101969" cy="735754"/>
          </a:xfrm>
          <a:prstGeom prst="rect">
            <a:avLst/>
          </a:prstGeom>
          <a:noFill/>
        </p:spPr>
        <p:txBody>
          <a:bodyPr wrap="square" lIns="0" tIns="89999" rIns="0" bIns="89999" rtlCol="0" anchor="t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дажа минор. доли и </a:t>
            </a: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2643557" y="3619863"/>
            <a:ext cx="5052485" cy="493936"/>
          </a:xfrm>
          <a:prstGeom prst="rect">
            <a:avLst/>
          </a:prstGeom>
          <a:solidFill>
            <a:srgbClr val="F9EFB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дготовительная фаза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7680750" y="3619863"/>
            <a:ext cx="1344668" cy="493936"/>
          </a:xfrm>
          <a:prstGeom prst="rect">
            <a:avLst/>
          </a:prstGeom>
          <a:solidFill>
            <a:srgbClr val="B2B2B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полнение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pic>
        <p:nvPicPr>
          <p:cNvPr id="86" name="Picture 8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295403" y="3728743"/>
            <a:ext cx="1108598" cy="22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" name="Rectangle 152"/>
          <p:cNvSpPr/>
          <p:nvPr/>
        </p:nvSpPr>
        <p:spPr>
          <a:xfrm>
            <a:off x="156795" y="2322216"/>
            <a:ext cx="1295405" cy="504056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6" name="Oval invers 6"/>
          <p:cNvSpPr>
            <a:spLocks noChangeArrowheads="1"/>
          </p:cNvSpPr>
          <p:nvPr/>
        </p:nvSpPr>
        <p:spPr bwMode="gray">
          <a:xfrm>
            <a:off x="78608" y="2455607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oup 95"/>
          <p:cNvGrpSpPr/>
          <p:nvPr/>
        </p:nvGrpSpPr>
        <p:grpSpPr>
          <a:xfrm>
            <a:off x="362582" y="1160560"/>
            <a:ext cx="6092916" cy="416646"/>
            <a:chOff x="391589" y="1898185"/>
            <a:chExt cx="6645549" cy="416646"/>
          </a:xfrm>
        </p:grpSpPr>
        <p:sp>
          <p:nvSpPr>
            <p:cNvPr id="216" name="TextBox 215"/>
            <p:cNvSpPr txBox="1"/>
            <p:nvPr/>
          </p:nvSpPr>
          <p:spPr>
            <a:xfrm>
              <a:off x="1638300" y="1907710"/>
              <a:ext cx="1130300" cy="39720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PO</a:t>
              </a: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2863849" y="1898185"/>
              <a:ext cx="2771436" cy="416646"/>
            </a:xfrm>
            <a:prstGeom prst="rect">
              <a:avLst/>
            </a:prstGeom>
            <a:solidFill>
              <a:srgbClr val="F9EFBD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Подготовительная фаза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5625162" y="1920404"/>
              <a:ext cx="1411976" cy="374981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3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сполнение </a:t>
              </a:r>
              <a:r>
                <a:rPr lang="en-US" sz="13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IPO</a:t>
              </a:r>
            </a:p>
          </p:txBody>
        </p:sp>
        <p:pic>
          <p:nvPicPr>
            <p:cNvPr id="87" name="Picture 7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391589" y="1944631"/>
              <a:ext cx="1126201" cy="307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Rectangle 8"/>
          <p:cNvSpPr/>
          <p:nvPr/>
        </p:nvSpPr>
        <p:spPr>
          <a:xfrm>
            <a:off x="156794" y="4232525"/>
            <a:ext cx="1295406" cy="568231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900" b="1" baseline="300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3" name="Oval invers 5"/>
          <p:cNvSpPr>
            <a:spLocks noChangeArrowheads="1"/>
          </p:cNvSpPr>
          <p:nvPr/>
        </p:nvSpPr>
        <p:spPr bwMode="gray">
          <a:xfrm>
            <a:off x="43439" y="4419314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TextBox 214"/>
          <p:cNvSpPr txBox="1"/>
          <p:nvPr/>
        </p:nvSpPr>
        <p:spPr>
          <a:xfrm>
            <a:off x="1512277" y="4344715"/>
            <a:ext cx="104335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2643554" y="4280091"/>
            <a:ext cx="3789576" cy="530188"/>
          </a:xfrm>
          <a:prstGeom prst="rect">
            <a:avLst/>
          </a:prstGeom>
          <a:solidFill>
            <a:srgbClr val="F9EFB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дготовительная 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аза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6428272" y="4280094"/>
            <a:ext cx="1600115" cy="497581"/>
          </a:xfrm>
          <a:prstGeom prst="rect">
            <a:avLst/>
          </a:prstGeom>
          <a:solidFill>
            <a:srgbClr val="B2B2B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полнение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pic>
        <p:nvPicPr>
          <p:cNvPr id="88" name="Picture 12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376066" y="4270567"/>
            <a:ext cx="938959" cy="497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" name="Picture 14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264036" y="5721467"/>
            <a:ext cx="1116855" cy="311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" name="Picture 6" descr="http://aeroport.kz/sites/default/files/pictures/logo-partners/qazaq-logo.jpg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388491" y="6293679"/>
            <a:ext cx="868461" cy="421024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156795" y="4913584"/>
            <a:ext cx="1295407" cy="538887"/>
          </a:xfrm>
          <a:prstGeom prst="rect">
            <a:avLst/>
          </a:prstGeom>
          <a:noFill/>
          <a:ln w="9525">
            <a:solidFill>
              <a:srgbClr val="00499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900" b="1" dirty="0" err="1">
                <a:solidFill>
                  <a:prstClr val="white"/>
                </a:solidFill>
                <a:cs typeface="Arial" pitchFamily="34" charset="0"/>
              </a:rPr>
              <a:t>КТЖ</a:t>
            </a:r>
            <a:endParaRPr lang="en-US" sz="9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0" name="Oval invers 1"/>
          <p:cNvSpPr>
            <a:spLocks noChangeArrowheads="1"/>
          </p:cNvSpPr>
          <p:nvPr/>
        </p:nvSpPr>
        <p:spPr bwMode="gray">
          <a:xfrm>
            <a:off x="43439" y="4999019"/>
            <a:ext cx="226702" cy="248051"/>
          </a:xfrm>
          <a:prstGeom prst="ellipse">
            <a:avLst/>
          </a:prstGeom>
          <a:solidFill>
            <a:srgbClr val="D2E0E6"/>
          </a:solidFill>
          <a:ln w="15875" algn="ctr">
            <a:solidFill>
              <a:srgbClr val="79A2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>
                <a:solidFill>
                  <a:srgbClr val="004990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rgbClr val="00499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2643556" y="4986515"/>
            <a:ext cx="5052485" cy="465955"/>
          </a:xfrm>
          <a:prstGeom prst="rect">
            <a:avLst/>
          </a:prstGeom>
          <a:solidFill>
            <a:srgbClr val="F9EFB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дготовительная фаза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Rectangle 221"/>
          <p:cNvSpPr/>
          <p:nvPr/>
        </p:nvSpPr>
        <p:spPr>
          <a:xfrm>
            <a:off x="7680750" y="4986515"/>
            <a:ext cx="1329639" cy="465955"/>
          </a:xfrm>
          <a:prstGeom prst="rect">
            <a:avLst/>
          </a:prstGeom>
          <a:solidFill>
            <a:srgbClr val="B2B2B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полнение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1512277" y="4986515"/>
            <a:ext cx="104335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PO</a:t>
            </a:r>
          </a:p>
        </p:txBody>
      </p:sp>
      <p:pic>
        <p:nvPicPr>
          <p:cNvPr id="95" name="Picture 2" descr="http://mainavira.kz/assets/templates/vm_temp/img/images/ktzh3.jpg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317992" y="5024472"/>
            <a:ext cx="1102783" cy="312559"/>
          </a:xfrm>
          <a:prstGeom prst="rect">
            <a:avLst/>
          </a:prstGeom>
          <a:noFill/>
        </p:spPr>
      </p:pic>
      <p:grpSp>
        <p:nvGrpSpPr>
          <p:cNvPr id="16" name="Group 104"/>
          <p:cNvGrpSpPr/>
          <p:nvPr/>
        </p:nvGrpSpPr>
        <p:grpSpPr>
          <a:xfrm>
            <a:off x="572694" y="1734193"/>
            <a:ext cx="5882807" cy="470787"/>
            <a:chOff x="620415" y="2509293"/>
            <a:chExt cx="6373041" cy="470787"/>
          </a:xfrm>
        </p:grpSpPr>
        <p:sp>
          <p:nvSpPr>
            <p:cNvPr id="224" name="TextBox 223"/>
            <p:cNvSpPr txBox="1"/>
            <p:nvPr/>
          </p:nvSpPr>
          <p:spPr>
            <a:xfrm>
              <a:off x="1651832" y="2555786"/>
              <a:ext cx="1130300" cy="397199"/>
            </a:xfrm>
            <a:prstGeom prst="rect">
              <a:avLst/>
            </a:prstGeom>
            <a:noFill/>
          </p:spPr>
          <p:txBody>
            <a:bodyPr wrap="square" lIns="0" tIns="89999" rIns="0" bIns="89999" rtlCol="0" anchor="t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IPO/SPO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4" name="Rectangle 293"/>
            <p:cNvSpPr/>
            <p:nvPr/>
          </p:nvSpPr>
          <p:spPr>
            <a:xfrm>
              <a:off x="2863850" y="2518206"/>
              <a:ext cx="2748332" cy="461874"/>
            </a:xfrm>
            <a:prstGeom prst="rect">
              <a:avLst/>
            </a:prstGeom>
            <a:solidFill>
              <a:srgbClr val="F9EFBD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Подготовительная фаза</a:t>
              </a:r>
              <a:endPara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6" name="Rectangle 295"/>
            <p:cNvSpPr/>
            <p:nvPr/>
          </p:nvSpPr>
          <p:spPr>
            <a:xfrm>
              <a:off x="5612182" y="2555787"/>
              <a:ext cx="1381274" cy="397904"/>
            </a:xfrm>
            <a:prstGeom prst="rect">
              <a:avLst/>
            </a:prstGeom>
            <a:solidFill>
              <a:srgbClr val="B2B2B2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 anchorCtr="0"/>
            <a:lstStyle/>
            <a:p>
              <a:pPr algn="ctr"/>
              <a:r>
                <a:rPr lang="ru-RU" sz="13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сполнение </a:t>
              </a:r>
              <a:r>
                <a:rPr lang="en-US" sz="13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SPO</a:t>
              </a:r>
              <a:endParaRPr lang="en-US" sz="13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5" name="Picture 10"/>
            <p:cNvPicPr>
              <a:picLocks noChangeAspect="1" noChangeArrowheads="1"/>
            </p:cNvPicPr>
            <p:nvPr/>
          </p:nvPicPr>
          <p:blipFill>
            <a:blip r:embed="rId15" cstate="email"/>
            <a:srcRect/>
            <a:stretch>
              <a:fillRect/>
            </a:stretch>
          </p:blipFill>
          <p:spPr bwMode="auto">
            <a:xfrm>
              <a:off x="620415" y="2509293"/>
              <a:ext cx="669057" cy="3816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1" name="Заголовок 1"/>
          <p:cNvSpPr txBox="1">
            <a:spLocks/>
          </p:cNvSpPr>
          <p:nvPr/>
        </p:nvSpPr>
        <p:spPr>
          <a:xfrm>
            <a:off x="0" y="46282"/>
            <a:ext cx="9144000" cy="566137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ДОРОЖНАЯ </a:t>
            </a:r>
            <a:r>
              <a:rPr lang="ru-RU" sz="2600" dirty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КАРТА ПО </a:t>
            </a:r>
            <a:r>
              <a:rPr lang="en-US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IPO </a:t>
            </a: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КРУПНЕЙШИ</a:t>
            </a:r>
            <a:r>
              <a:rPr lang="ru-RU" sz="2600" dirty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Х</a:t>
            </a:r>
            <a:r>
              <a:rPr lang="ru-RU" sz="260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 КОМПАНИЙ</a:t>
            </a:r>
            <a:endParaRPr lang="ru-RU" sz="260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8152" y="525104"/>
            <a:ext cx="9135848" cy="1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226"/>
          <p:cNvCxnSpPr/>
          <p:nvPr/>
        </p:nvCxnSpPr>
        <p:spPr>
          <a:xfrm flipH="1" flipV="1">
            <a:off x="156792" y="6176337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226"/>
          <p:cNvCxnSpPr/>
          <p:nvPr/>
        </p:nvCxnSpPr>
        <p:spPr>
          <a:xfrm flipH="1" flipV="1">
            <a:off x="141762" y="5503883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226"/>
          <p:cNvCxnSpPr/>
          <p:nvPr/>
        </p:nvCxnSpPr>
        <p:spPr>
          <a:xfrm flipH="1" flipV="1">
            <a:off x="141762" y="4856216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226"/>
          <p:cNvCxnSpPr/>
          <p:nvPr/>
        </p:nvCxnSpPr>
        <p:spPr>
          <a:xfrm flipH="1" flipV="1">
            <a:off x="153751" y="4170042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226"/>
          <p:cNvCxnSpPr/>
          <p:nvPr/>
        </p:nvCxnSpPr>
        <p:spPr>
          <a:xfrm flipH="1" flipV="1">
            <a:off x="148000" y="3518876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226"/>
          <p:cNvCxnSpPr/>
          <p:nvPr/>
        </p:nvCxnSpPr>
        <p:spPr>
          <a:xfrm flipH="1" flipV="1">
            <a:off x="148000" y="2880852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226"/>
          <p:cNvCxnSpPr/>
          <p:nvPr/>
        </p:nvCxnSpPr>
        <p:spPr>
          <a:xfrm flipH="1" flipV="1">
            <a:off x="148000" y="2269261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226"/>
          <p:cNvCxnSpPr/>
          <p:nvPr/>
        </p:nvCxnSpPr>
        <p:spPr>
          <a:xfrm flipH="1" flipV="1">
            <a:off x="156792" y="1627664"/>
            <a:ext cx="8868626" cy="438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Заголовок 1"/>
          <p:cNvSpPr txBox="1">
            <a:spLocks/>
          </p:cNvSpPr>
          <p:nvPr/>
        </p:nvSpPr>
        <p:spPr>
          <a:xfrm>
            <a:off x="8759545" y="6597352"/>
            <a:ext cx="233053" cy="216024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6</a:t>
            </a:r>
            <a:endParaRPr lang="ru-RU" sz="1200" b="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60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3381649" y="2005886"/>
            <a:ext cx="2093670" cy="2287213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 defTabSz="1218987"/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3525382" y="2504899"/>
            <a:ext cx="1820584" cy="1696051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 defTabSz="1218987"/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4141412" y="2063159"/>
            <a:ext cx="579237" cy="694697"/>
            <a:chOff x="688975" y="2427288"/>
            <a:chExt cx="957263" cy="1050925"/>
          </a:xfrm>
          <a:solidFill>
            <a:schemeClr val="bg1"/>
          </a:solidFill>
        </p:grpSpPr>
        <p:sp>
          <p:nvSpPr>
            <p:cNvPr id="34" name="Freeform 159"/>
            <p:cNvSpPr>
              <a:spLocks noEditPoints="1"/>
            </p:cNvSpPr>
            <p:nvPr/>
          </p:nvSpPr>
          <p:spPr bwMode="auto">
            <a:xfrm>
              <a:off x="846138" y="2589213"/>
              <a:ext cx="644525" cy="889000"/>
            </a:xfrm>
            <a:custGeom>
              <a:avLst/>
              <a:gdLst>
                <a:gd name="T0" fmla="*/ 751 w 2030"/>
                <a:gd name="T1" fmla="*/ 300 h 2803"/>
                <a:gd name="T2" fmla="*/ 479 w 2030"/>
                <a:gd name="T3" fmla="*/ 467 h 2803"/>
                <a:gd name="T4" fmla="*/ 304 w 2030"/>
                <a:gd name="T5" fmla="*/ 724 h 2803"/>
                <a:gd name="T6" fmla="*/ 259 w 2030"/>
                <a:gd name="T7" fmla="*/ 1035 h 2803"/>
                <a:gd name="T8" fmla="*/ 313 w 2030"/>
                <a:gd name="T9" fmla="*/ 1285 h 2803"/>
                <a:gd name="T10" fmla="*/ 414 w 2030"/>
                <a:gd name="T11" fmla="*/ 1473 h 2803"/>
                <a:gd name="T12" fmla="*/ 530 w 2030"/>
                <a:gd name="T13" fmla="*/ 1648 h 2803"/>
                <a:gd name="T14" fmla="*/ 603 w 2030"/>
                <a:gd name="T15" fmla="*/ 1845 h 2803"/>
                <a:gd name="T16" fmla="*/ 647 w 2030"/>
                <a:gd name="T17" fmla="*/ 1980 h 2803"/>
                <a:gd name="T18" fmla="*/ 1346 w 2030"/>
                <a:gd name="T19" fmla="*/ 2014 h 2803"/>
                <a:gd name="T20" fmla="*/ 1422 w 2030"/>
                <a:gd name="T21" fmla="*/ 1915 h 2803"/>
                <a:gd name="T22" fmla="*/ 1461 w 2030"/>
                <a:gd name="T23" fmla="*/ 1723 h 2803"/>
                <a:gd name="T24" fmla="*/ 1571 w 2030"/>
                <a:gd name="T25" fmla="*/ 1540 h 2803"/>
                <a:gd name="T26" fmla="*/ 1679 w 2030"/>
                <a:gd name="T27" fmla="*/ 1366 h 2803"/>
                <a:gd name="T28" fmla="*/ 1757 w 2030"/>
                <a:gd name="T29" fmla="*/ 1144 h 2803"/>
                <a:gd name="T30" fmla="*/ 1762 w 2030"/>
                <a:gd name="T31" fmla="*/ 846 h 2803"/>
                <a:gd name="T32" fmla="*/ 1635 w 2030"/>
                <a:gd name="T33" fmla="*/ 560 h 2803"/>
                <a:gd name="T34" fmla="*/ 1398 w 2030"/>
                <a:gd name="T35" fmla="*/ 353 h 2803"/>
                <a:gd name="T36" fmla="*/ 1084 w 2030"/>
                <a:gd name="T37" fmla="*/ 259 h 2803"/>
                <a:gd name="T38" fmla="*/ 1258 w 2030"/>
                <a:gd name="T39" fmla="*/ 30 h 2803"/>
                <a:gd name="T40" fmla="*/ 1614 w 2030"/>
                <a:gd name="T41" fmla="*/ 189 h 2803"/>
                <a:gd name="T42" fmla="*/ 1878 w 2030"/>
                <a:gd name="T43" fmla="*/ 462 h 2803"/>
                <a:gd name="T44" fmla="*/ 2016 w 2030"/>
                <a:gd name="T45" fmla="*/ 816 h 2803"/>
                <a:gd name="T46" fmla="*/ 2014 w 2030"/>
                <a:gd name="T47" fmla="*/ 1167 h 2803"/>
                <a:gd name="T48" fmla="*/ 1936 w 2030"/>
                <a:gd name="T49" fmla="*/ 1425 h 2803"/>
                <a:gd name="T50" fmla="*/ 1827 w 2030"/>
                <a:gd name="T51" fmla="*/ 1619 h 2803"/>
                <a:gd name="T52" fmla="*/ 1715 w 2030"/>
                <a:gd name="T53" fmla="*/ 1787 h 2803"/>
                <a:gd name="T54" fmla="*/ 1678 w 2030"/>
                <a:gd name="T55" fmla="*/ 1936 h 2803"/>
                <a:gd name="T56" fmla="*/ 1573 w 2030"/>
                <a:gd name="T57" fmla="*/ 2152 h 2803"/>
                <a:gd name="T58" fmla="*/ 1488 w 2030"/>
                <a:gd name="T59" fmla="*/ 2297 h 2803"/>
                <a:gd name="T60" fmla="*/ 1481 w 2030"/>
                <a:gd name="T61" fmla="*/ 2432 h 2803"/>
                <a:gd name="T62" fmla="*/ 1477 w 2030"/>
                <a:gd name="T63" fmla="*/ 2494 h 2803"/>
                <a:gd name="T64" fmla="*/ 1447 w 2030"/>
                <a:gd name="T65" fmla="*/ 2578 h 2803"/>
                <a:gd name="T66" fmla="*/ 1341 w 2030"/>
                <a:gd name="T67" fmla="*/ 2669 h 2803"/>
                <a:gd name="T68" fmla="*/ 1185 w 2030"/>
                <a:gd name="T69" fmla="*/ 2782 h 2803"/>
                <a:gd name="T70" fmla="*/ 891 w 2030"/>
                <a:gd name="T71" fmla="*/ 2800 h 2803"/>
                <a:gd name="T72" fmla="*/ 762 w 2030"/>
                <a:gd name="T73" fmla="*/ 2701 h 2803"/>
                <a:gd name="T74" fmla="*/ 607 w 2030"/>
                <a:gd name="T75" fmla="*/ 2609 h 2803"/>
                <a:gd name="T76" fmla="*/ 556 w 2030"/>
                <a:gd name="T77" fmla="*/ 2512 h 2803"/>
                <a:gd name="T78" fmla="*/ 551 w 2030"/>
                <a:gd name="T79" fmla="*/ 2468 h 2803"/>
                <a:gd name="T80" fmla="*/ 545 w 2030"/>
                <a:gd name="T81" fmla="*/ 2353 h 2803"/>
                <a:gd name="T82" fmla="*/ 538 w 2030"/>
                <a:gd name="T83" fmla="*/ 2224 h 2803"/>
                <a:gd name="T84" fmla="*/ 376 w 2030"/>
                <a:gd name="T85" fmla="*/ 2027 h 2803"/>
                <a:gd name="T86" fmla="*/ 340 w 2030"/>
                <a:gd name="T87" fmla="*/ 1841 h 2803"/>
                <a:gd name="T88" fmla="*/ 247 w 2030"/>
                <a:gd name="T89" fmla="*/ 1684 h 2803"/>
                <a:gd name="T90" fmla="*/ 137 w 2030"/>
                <a:gd name="T91" fmla="*/ 1510 h 2803"/>
                <a:gd name="T92" fmla="*/ 41 w 2030"/>
                <a:gd name="T93" fmla="*/ 1280 h 2803"/>
                <a:gd name="T94" fmla="*/ 0 w 2030"/>
                <a:gd name="T95" fmla="*/ 975 h 2803"/>
                <a:gd name="T96" fmla="*/ 80 w 2030"/>
                <a:gd name="T97" fmla="*/ 596 h 2803"/>
                <a:gd name="T98" fmla="*/ 298 w 2030"/>
                <a:gd name="T99" fmla="*/ 287 h 2803"/>
                <a:gd name="T100" fmla="*/ 621 w 2030"/>
                <a:gd name="T101" fmla="*/ 77 h 2803"/>
                <a:gd name="T102" fmla="*/ 1015 w 2030"/>
                <a:gd name="T10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30" h="2803">
                  <a:moveTo>
                    <a:pt x="1015" y="255"/>
                  </a:moveTo>
                  <a:lnTo>
                    <a:pt x="946" y="259"/>
                  </a:lnTo>
                  <a:lnTo>
                    <a:pt x="879" y="267"/>
                  </a:lnTo>
                  <a:lnTo>
                    <a:pt x="814" y="281"/>
                  </a:lnTo>
                  <a:lnTo>
                    <a:pt x="751" y="300"/>
                  </a:lnTo>
                  <a:lnTo>
                    <a:pt x="690" y="325"/>
                  </a:lnTo>
                  <a:lnTo>
                    <a:pt x="632" y="354"/>
                  </a:lnTo>
                  <a:lnTo>
                    <a:pt x="578" y="388"/>
                  </a:lnTo>
                  <a:lnTo>
                    <a:pt x="527" y="425"/>
                  </a:lnTo>
                  <a:lnTo>
                    <a:pt x="479" y="467"/>
                  </a:lnTo>
                  <a:lnTo>
                    <a:pt x="435" y="511"/>
                  </a:lnTo>
                  <a:lnTo>
                    <a:pt x="396" y="560"/>
                  </a:lnTo>
                  <a:lnTo>
                    <a:pt x="361" y="612"/>
                  </a:lnTo>
                  <a:lnTo>
                    <a:pt x="330" y="667"/>
                  </a:lnTo>
                  <a:lnTo>
                    <a:pt x="304" y="724"/>
                  </a:lnTo>
                  <a:lnTo>
                    <a:pt x="284" y="784"/>
                  </a:lnTo>
                  <a:lnTo>
                    <a:pt x="269" y="846"/>
                  </a:lnTo>
                  <a:lnTo>
                    <a:pt x="260" y="909"/>
                  </a:lnTo>
                  <a:lnTo>
                    <a:pt x="257" y="975"/>
                  </a:lnTo>
                  <a:lnTo>
                    <a:pt x="259" y="1035"/>
                  </a:lnTo>
                  <a:lnTo>
                    <a:pt x="264" y="1091"/>
                  </a:lnTo>
                  <a:lnTo>
                    <a:pt x="273" y="1144"/>
                  </a:lnTo>
                  <a:lnTo>
                    <a:pt x="284" y="1194"/>
                  </a:lnTo>
                  <a:lnTo>
                    <a:pt x="298" y="1241"/>
                  </a:lnTo>
                  <a:lnTo>
                    <a:pt x="313" y="1285"/>
                  </a:lnTo>
                  <a:lnTo>
                    <a:pt x="331" y="1327"/>
                  </a:lnTo>
                  <a:lnTo>
                    <a:pt x="351" y="1366"/>
                  </a:lnTo>
                  <a:lnTo>
                    <a:pt x="371" y="1404"/>
                  </a:lnTo>
                  <a:lnTo>
                    <a:pt x="393" y="1439"/>
                  </a:lnTo>
                  <a:lnTo>
                    <a:pt x="414" y="1473"/>
                  </a:lnTo>
                  <a:lnTo>
                    <a:pt x="437" y="1507"/>
                  </a:lnTo>
                  <a:lnTo>
                    <a:pt x="458" y="1539"/>
                  </a:lnTo>
                  <a:lnTo>
                    <a:pt x="483" y="1575"/>
                  </a:lnTo>
                  <a:lnTo>
                    <a:pt x="507" y="1612"/>
                  </a:lnTo>
                  <a:lnTo>
                    <a:pt x="530" y="1648"/>
                  </a:lnTo>
                  <a:lnTo>
                    <a:pt x="551" y="1685"/>
                  </a:lnTo>
                  <a:lnTo>
                    <a:pt x="569" y="1723"/>
                  </a:lnTo>
                  <a:lnTo>
                    <a:pt x="584" y="1762"/>
                  </a:lnTo>
                  <a:lnTo>
                    <a:pt x="595" y="1802"/>
                  </a:lnTo>
                  <a:lnTo>
                    <a:pt x="603" y="1845"/>
                  </a:lnTo>
                  <a:lnTo>
                    <a:pt x="605" y="1890"/>
                  </a:lnTo>
                  <a:lnTo>
                    <a:pt x="608" y="1915"/>
                  </a:lnTo>
                  <a:lnTo>
                    <a:pt x="618" y="1939"/>
                  </a:lnTo>
                  <a:lnTo>
                    <a:pt x="630" y="1960"/>
                  </a:lnTo>
                  <a:lnTo>
                    <a:pt x="647" y="1980"/>
                  </a:lnTo>
                  <a:lnTo>
                    <a:pt x="665" y="1998"/>
                  </a:lnTo>
                  <a:lnTo>
                    <a:pt x="684" y="2014"/>
                  </a:lnTo>
                  <a:lnTo>
                    <a:pt x="701" y="2027"/>
                  </a:lnTo>
                  <a:lnTo>
                    <a:pt x="1328" y="2027"/>
                  </a:lnTo>
                  <a:lnTo>
                    <a:pt x="1346" y="2014"/>
                  </a:lnTo>
                  <a:lnTo>
                    <a:pt x="1365" y="1998"/>
                  </a:lnTo>
                  <a:lnTo>
                    <a:pt x="1384" y="1980"/>
                  </a:lnTo>
                  <a:lnTo>
                    <a:pt x="1400" y="1960"/>
                  </a:lnTo>
                  <a:lnTo>
                    <a:pt x="1412" y="1939"/>
                  </a:lnTo>
                  <a:lnTo>
                    <a:pt x="1422" y="1915"/>
                  </a:lnTo>
                  <a:lnTo>
                    <a:pt x="1425" y="1890"/>
                  </a:lnTo>
                  <a:lnTo>
                    <a:pt x="1427" y="1845"/>
                  </a:lnTo>
                  <a:lnTo>
                    <a:pt x="1434" y="1802"/>
                  </a:lnTo>
                  <a:lnTo>
                    <a:pt x="1446" y="1762"/>
                  </a:lnTo>
                  <a:lnTo>
                    <a:pt x="1461" y="1723"/>
                  </a:lnTo>
                  <a:lnTo>
                    <a:pt x="1478" y="1686"/>
                  </a:lnTo>
                  <a:lnTo>
                    <a:pt x="1499" y="1648"/>
                  </a:lnTo>
                  <a:lnTo>
                    <a:pt x="1521" y="1612"/>
                  </a:lnTo>
                  <a:lnTo>
                    <a:pt x="1546" y="1576"/>
                  </a:lnTo>
                  <a:lnTo>
                    <a:pt x="1571" y="1540"/>
                  </a:lnTo>
                  <a:lnTo>
                    <a:pt x="1593" y="1508"/>
                  </a:lnTo>
                  <a:lnTo>
                    <a:pt x="1615" y="1474"/>
                  </a:lnTo>
                  <a:lnTo>
                    <a:pt x="1637" y="1440"/>
                  </a:lnTo>
                  <a:lnTo>
                    <a:pt x="1659" y="1404"/>
                  </a:lnTo>
                  <a:lnTo>
                    <a:pt x="1679" y="1366"/>
                  </a:lnTo>
                  <a:lnTo>
                    <a:pt x="1699" y="1327"/>
                  </a:lnTo>
                  <a:lnTo>
                    <a:pt x="1716" y="1285"/>
                  </a:lnTo>
                  <a:lnTo>
                    <a:pt x="1732" y="1241"/>
                  </a:lnTo>
                  <a:lnTo>
                    <a:pt x="1746" y="1194"/>
                  </a:lnTo>
                  <a:lnTo>
                    <a:pt x="1757" y="1144"/>
                  </a:lnTo>
                  <a:lnTo>
                    <a:pt x="1766" y="1091"/>
                  </a:lnTo>
                  <a:lnTo>
                    <a:pt x="1771" y="1035"/>
                  </a:lnTo>
                  <a:lnTo>
                    <a:pt x="1773" y="975"/>
                  </a:lnTo>
                  <a:lnTo>
                    <a:pt x="1770" y="909"/>
                  </a:lnTo>
                  <a:lnTo>
                    <a:pt x="1762" y="846"/>
                  </a:lnTo>
                  <a:lnTo>
                    <a:pt x="1746" y="783"/>
                  </a:lnTo>
                  <a:lnTo>
                    <a:pt x="1726" y="724"/>
                  </a:lnTo>
                  <a:lnTo>
                    <a:pt x="1701" y="667"/>
                  </a:lnTo>
                  <a:lnTo>
                    <a:pt x="1669" y="611"/>
                  </a:lnTo>
                  <a:lnTo>
                    <a:pt x="1635" y="560"/>
                  </a:lnTo>
                  <a:lnTo>
                    <a:pt x="1595" y="511"/>
                  </a:lnTo>
                  <a:lnTo>
                    <a:pt x="1551" y="467"/>
                  </a:lnTo>
                  <a:lnTo>
                    <a:pt x="1504" y="425"/>
                  </a:lnTo>
                  <a:lnTo>
                    <a:pt x="1452" y="387"/>
                  </a:lnTo>
                  <a:lnTo>
                    <a:pt x="1398" y="353"/>
                  </a:lnTo>
                  <a:lnTo>
                    <a:pt x="1340" y="325"/>
                  </a:lnTo>
                  <a:lnTo>
                    <a:pt x="1279" y="300"/>
                  </a:lnTo>
                  <a:lnTo>
                    <a:pt x="1216" y="281"/>
                  </a:lnTo>
                  <a:lnTo>
                    <a:pt x="1151" y="267"/>
                  </a:lnTo>
                  <a:lnTo>
                    <a:pt x="1084" y="259"/>
                  </a:lnTo>
                  <a:lnTo>
                    <a:pt x="1015" y="255"/>
                  </a:lnTo>
                  <a:close/>
                  <a:moveTo>
                    <a:pt x="1015" y="0"/>
                  </a:moveTo>
                  <a:lnTo>
                    <a:pt x="1098" y="4"/>
                  </a:lnTo>
                  <a:lnTo>
                    <a:pt x="1180" y="14"/>
                  </a:lnTo>
                  <a:lnTo>
                    <a:pt x="1258" y="30"/>
                  </a:lnTo>
                  <a:lnTo>
                    <a:pt x="1336" y="50"/>
                  </a:lnTo>
                  <a:lnTo>
                    <a:pt x="1409" y="77"/>
                  </a:lnTo>
                  <a:lnTo>
                    <a:pt x="1481" y="110"/>
                  </a:lnTo>
                  <a:lnTo>
                    <a:pt x="1549" y="147"/>
                  </a:lnTo>
                  <a:lnTo>
                    <a:pt x="1614" y="189"/>
                  </a:lnTo>
                  <a:lnTo>
                    <a:pt x="1675" y="236"/>
                  </a:lnTo>
                  <a:lnTo>
                    <a:pt x="1732" y="287"/>
                  </a:lnTo>
                  <a:lnTo>
                    <a:pt x="1785" y="341"/>
                  </a:lnTo>
                  <a:lnTo>
                    <a:pt x="1834" y="400"/>
                  </a:lnTo>
                  <a:lnTo>
                    <a:pt x="1878" y="462"/>
                  </a:lnTo>
                  <a:lnTo>
                    <a:pt x="1917" y="527"/>
                  </a:lnTo>
                  <a:lnTo>
                    <a:pt x="1950" y="596"/>
                  </a:lnTo>
                  <a:lnTo>
                    <a:pt x="1978" y="668"/>
                  </a:lnTo>
                  <a:lnTo>
                    <a:pt x="2001" y="740"/>
                  </a:lnTo>
                  <a:lnTo>
                    <a:pt x="2016" y="816"/>
                  </a:lnTo>
                  <a:lnTo>
                    <a:pt x="2027" y="895"/>
                  </a:lnTo>
                  <a:lnTo>
                    <a:pt x="2030" y="975"/>
                  </a:lnTo>
                  <a:lnTo>
                    <a:pt x="2028" y="1042"/>
                  </a:lnTo>
                  <a:lnTo>
                    <a:pt x="2023" y="1107"/>
                  </a:lnTo>
                  <a:lnTo>
                    <a:pt x="2014" y="1167"/>
                  </a:lnTo>
                  <a:lnTo>
                    <a:pt x="2003" y="1226"/>
                  </a:lnTo>
                  <a:lnTo>
                    <a:pt x="1989" y="1280"/>
                  </a:lnTo>
                  <a:lnTo>
                    <a:pt x="1973" y="1331"/>
                  </a:lnTo>
                  <a:lnTo>
                    <a:pt x="1955" y="1380"/>
                  </a:lnTo>
                  <a:lnTo>
                    <a:pt x="1936" y="1425"/>
                  </a:lnTo>
                  <a:lnTo>
                    <a:pt x="1915" y="1468"/>
                  </a:lnTo>
                  <a:lnTo>
                    <a:pt x="1894" y="1509"/>
                  </a:lnTo>
                  <a:lnTo>
                    <a:pt x="1871" y="1548"/>
                  </a:lnTo>
                  <a:lnTo>
                    <a:pt x="1849" y="1585"/>
                  </a:lnTo>
                  <a:lnTo>
                    <a:pt x="1827" y="1619"/>
                  </a:lnTo>
                  <a:lnTo>
                    <a:pt x="1805" y="1651"/>
                  </a:lnTo>
                  <a:lnTo>
                    <a:pt x="1783" y="1683"/>
                  </a:lnTo>
                  <a:lnTo>
                    <a:pt x="1757" y="1721"/>
                  </a:lnTo>
                  <a:lnTo>
                    <a:pt x="1734" y="1755"/>
                  </a:lnTo>
                  <a:lnTo>
                    <a:pt x="1715" y="1787"/>
                  </a:lnTo>
                  <a:lnTo>
                    <a:pt x="1701" y="1815"/>
                  </a:lnTo>
                  <a:lnTo>
                    <a:pt x="1690" y="1841"/>
                  </a:lnTo>
                  <a:lnTo>
                    <a:pt x="1683" y="1866"/>
                  </a:lnTo>
                  <a:lnTo>
                    <a:pt x="1681" y="1890"/>
                  </a:lnTo>
                  <a:lnTo>
                    <a:pt x="1678" y="1936"/>
                  </a:lnTo>
                  <a:lnTo>
                    <a:pt x="1668" y="1982"/>
                  </a:lnTo>
                  <a:lnTo>
                    <a:pt x="1654" y="2027"/>
                  </a:lnTo>
                  <a:lnTo>
                    <a:pt x="1632" y="2071"/>
                  </a:lnTo>
                  <a:lnTo>
                    <a:pt x="1605" y="2112"/>
                  </a:lnTo>
                  <a:lnTo>
                    <a:pt x="1573" y="2152"/>
                  </a:lnTo>
                  <a:lnTo>
                    <a:pt x="1535" y="2189"/>
                  </a:lnTo>
                  <a:lnTo>
                    <a:pt x="1492" y="2224"/>
                  </a:lnTo>
                  <a:lnTo>
                    <a:pt x="1491" y="2245"/>
                  </a:lnTo>
                  <a:lnTo>
                    <a:pt x="1490" y="2270"/>
                  </a:lnTo>
                  <a:lnTo>
                    <a:pt x="1488" y="2297"/>
                  </a:lnTo>
                  <a:lnTo>
                    <a:pt x="1487" y="2325"/>
                  </a:lnTo>
                  <a:lnTo>
                    <a:pt x="1485" y="2353"/>
                  </a:lnTo>
                  <a:lnTo>
                    <a:pt x="1484" y="2381"/>
                  </a:lnTo>
                  <a:lnTo>
                    <a:pt x="1482" y="2408"/>
                  </a:lnTo>
                  <a:lnTo>
                    <a:pt x="1481" y="2432"/>
                  </a:lnTo>
                  <a:lnTo>
                    <a:pt x="1479" y="2452"/>
                  </a:lnTo>
                  <a:lnTo>
                    <a:pt x="1478" y="2468"/>
                  </a:lnTo>
                  <a:lnTo>
                    <a:pt x="1478" y="2479"/>
                  </a:lnTo>
                  <a:lnTo>
                    <a:pt x="1477" y="2482"/>
                  </a:lnTo>
                  <a:lnTo>
                    <a:pt x="1477" y="2494"/>
                  </a:lnTo>
                  <a:lnTo>
                    <a:pt x="1475" y="2509"/>
                  </a:lnTo>
                  <a:lnTo>
                    <a:pt x="1471" y="2525"/>
                  </a:lnTo>
                  <a:lnTo>
                    <a:pt x="1466" y="2541"/>
                  </a:lnTo>
                  <a:lnTo>
                    <a:pt x="1457" y="2560"/>
                  </a:lnTo>
                  <a:lnTo>
                    <a:pt x="1447" y="2578"/>
                  </a:lnTo>
                  <a:lnTo>
                    <a:pt x="1433" y="2596"/>
                  </a:lnTo>
                  <a:lnTo>
                    <a:pt x="1417" y="2616"/>
                  </a:lnTo>
                  <a:lnTo>
                    <a:pt x="1396" y="2634"/>
                  </a:lnTo>
                  <a:lnTo>
                    <a:pt x="1370" y="2653"/>
                  </a:lnTo>
                  <a:lnTo>
                    <a:pt x="1341" y="2669"/>
                  </a:lnTo>
                  <a:lnTo>
                    <a:pt x="1308" y="2686"/>
                  </a:lnTo>
                  <a:lnTo>
                    <a:pt x="1268" y="2701"/>
                  </a:lnTo>
                  <a:lnTo>
                    <a:pt x="1245" y="2730"/>
                  </a:lnTo>
                  <a:lnTo>
                    <a:pt x="1216" y="2757"/>
                  </a:lnTo>
                  <a:lnTo>
                    <a:pt x="1185" y="2782"/>
                  </a:lnTo>
                  <a:lnTo>
                    <a:pt x="1163" y="2793"/>
                  </a:lnTo>
                  <a:lnTo>
                    <a:pt x="1139" y="2800"/>
                  </a:lnTo>
                  <a:lnTo>
                    <a:pt x="1114" y="2803"/>
                  </a:lnTo>
                  <a:lnTo>
                    <a:pt x="916" y="2803"/>
                  </a:lnTo>
                  <a:lnTo>
                    <a:pt x="891" y="2800"/>
                  </a:lnTo>
                  <a:lnTo>
                    <a:pt x="867" y="2793"/>
                  </a:lnTo>
                  <a:lnTo>
                    <a:pt x="845" y="2782"/>
                  </a:lnTo>
                  <a:lnTo>
                    <a:pt x="814" y="2757"/>
                  </a:lnTo>
                  <a:lnTo>
                    <a:pt x="785" y="2730"/>
                  </a:lnTo>
                  <a:lnTo>
                    <a:pt x="762" y="2701"/>
                  </a:lnTo>
                  <a:lnTo>
                    <a:pt x="720" y="2684"/>
                  </a:lnTo>
                  <a:lnTo>
                    <a:pt x="685" y="2667"/>
                  </a:lnTo>
                  <a:lnTo>
                    <a:pt x="653" y="2648"/>
                  </a:lnTo>
                  <a:lnTo>
                    <a:pt x="628" y="2629"/>
                  </a:lnTo>
                  <a:lnTo>
                    <a:pt x="607" y="2609"/>
                  </a:lnTo>
                  <a:lnTo>
                    <a:pt x="590" y="2588"/>
                  </a:lnTo>
                  <a:lnTo>
                    <a:pt x="578" y="2568"/>
                  </a:lnTo>
                  <a:lnTo>
                    <a:pt x="567" y="2549"/>
                  </a:lnTo>
                  <a:lnTo>
                    <a:pt x="561" y="2530"/>
                  </a:lnTo>
                  <a:lnTo>
                    <a:pt x="556" y="2512"/>
                  </a:lnTo>
                  <a:lnTo>
                    <a:pt x="554" y="2496"/>
                  </a:lnTo>
                  <a:lnTo>
                    <a:pt x="552" y="2482"/>
                  </a:lnTo>
                  <a:lnTo>
                    <a:pt x="552" y="2482"/>
                  </a:lnTo>
                  <a:lnTo>
                    <a:pt x="552" y="2479"/>
                  </a:lnTo>
                  <a:lnTo>
                    <a:pt x="551" y="2468"/>
                  </a:lnTo>
                  <a:lnTo>
                    <a:pt x="550" y="2452"/>
                  </a:lnTo>
                  <a:lnTo>
                    <a:pt x="549" y="2432"/>
                  </a:lnTo>
                  <a:lnTo>
                    <a:pt x="548" y="2408"/>
                  </a:lnTo>
                  <a:lnTo>
                    <a:pt x="546" y="2381"/>
                  </a:lnTo>
                  <a:lnTo>
                    <a:pt x="545" y="2353"/>
                  </a:lnTo>
                  <a:lnTo>
                    <a:pt x="543" y="2325"/>
                  </a:lnTo>
                  <a:lnTo>
                    <a:pt x="542" y="2297"/>
                  </a:lnTo>
                  <a:lnTo>
                    <a:pt x="540" y="2270"/>
                  </a:lnTo>
                  <a:lnTo>
                    <a:pt x="539" y="2245"/>
                  </a:lnTo>
                  <a:lnTo>
                    <a:pt x="538" y="2224"/>
                  </a:lnTo>
                  <a:lnTo>
                    <a:pt x="495" y="2189"/>
                  </a:lnTo>
                  <a:lnTo>
                    <a:pt x="457" y="2152"/>
                  </a:lnTo>
                  <a:lnTo>
                    <a:pt x="425" y="2112"/>
                  </a:lnTo>
                  <a:lnTo>
                    <a:pt x="398" y="2071"/>
                  </a:lnTo>
                  <a:lnTo>
                    <a:pt x="376" y="2027"/>
                  </a:lnTo>
                  <a:lnTo>
                    <a:pt x="362" y="1982"/>
                  </a:lnTo>
                  <a:lnTo>
                    <a:pt x="352" y="1936"/>
                  </a:lnTo>
                  <a:lnTo>
                    <a:pt x="349" y="1890"/>
                  </a:lnTo>
                  <a:lnTo>
                    <a:pt x="347" y="1866"/>
                  </a:lnTo>
                  <a:lnTo>
                    <a:pt x="340" y="1841"/>
                  </a:lnTo>
                  <a:lnTo>
                    <a:pt x="329" y="1815"/>
                  </a:lnTo>
                  <a:lnTo>
                    <a:pt x="314" y="1787"/>
                  </a:lnTo>
                  <a:lnTo>
                    <a:pt x="296" y="1755"/>
                  </a:lnTo>
                  <a:lnTo>
                    <a:pt x="274" y="1721"/>
                  </a:lnTo>
                  <a:lnTo>
                    <a:pt x="247" y="1684"/>
                  </a:lnTo>
                  <a:lnTo>
                    <a:pt x="226" y="1652"/>
                  </a:lnTo>
                  <a:lnTo>
                    <a:pt x="204" y="1619"/>
                  </a:lnTo>
                  <a:lnTo>
                    <a:pt x="181" y="1585"/>
                  </a:lnTo>
                  <a:lnTo>
                    <a:pt x="159" y="1548"/>
                  </a:lnTo>
                  <a:lnTo>
                    <a:pt x="137" y="1510"/>
                  </a:lnTo>
                  <a:lnTo>
                    <a:pt x="115" y="1468"/>
                  </a:lnTo>
                  <a:lnTo>
                    <a:pt x="94" y="1425"/>
                  </a:lnTo>
                  <a:lnTo>
                    <a:pt x="75" y="1380"/>
                  </a:lnTo>
                  <a:lnTo>
                    <a:pt x="56" y="1331"/>
                  </a:lnTo>
                  <a:lnTo>
                    <a:pt x="41" y="1280"/>
                  </a:lnTo>
                  <a:lnTo>
                    <a:pt x="27" y="1226"/>
                  </a:lnTo>
                  <a:lnTo>
                    <a:pt x="16" y="1167"/>
                  </a:lnTo>
                  <a:lnTo>
                    <a:pt x="7" y="1107"/>
                  </a:lnTo>
                  <a:lnTo>
                    <a:pt x="2" y="1042"/>
                  </a:lnTo>
                  <a:lnTo>
                    <a:pt x="0" y="975"/>
                  </a:lnTo>
                  <a:lnTo>
                    <a:pt x="3" y="895"/>
                  </a:lnTo>
                  <a:lnTo>
                    <a:pt x="13" y="816"/>
                  </a:lnTo>
                  <a:lnTo>
                    <a:pt x="29" y="740"/>
                  </a:lnTo>
                  <a:lnTo>
                    <a:pt x="52" y="668"/>
                  </a:lnTo>
                  <a:lnTo>
                    <a:pt x="80" y="596"/>
                  </a:lnTo>
                  <a:lnTo>
                    <a:pt x="113" y="527"/>
                  </a:lnTo>
                  <a:lnTo>
                    <a:pt x="152" y="462"/>
                  </a:lnTo>
                  <a:lnTo>
                    <a:pt x="196" y="400"/>
                  </a:lnTo>
                  <a:lnTo>
                    <a:pt x="245" y="341"/>
                  </a:lnTo>
                  <a:lnTo>
                    <a:pt x="298" y="287"/>
                  </a:lnTo>
                  <a:lnTo>
                    <a:pt x="355" y="236"/>
                  </a:lnTo>
                  <a:lnTo>
                    <a:pt x="416" y="189"/>
                  </a:lnTo>
                  <a:lnTo>
                    <a:pt x="481" y="147"/>
                  </a:lnTo>
                  <a:lnTo>
                    <a:pt x="549" y="110"/>
                  </a:lnTo>
                  <a:lnTo>
                    <a:pt x="621" y="77"/>
                  </a:lnTo>
                  <a:lnTo>
                    <a:pt x="695" y="50"/>
                  </a:lnTo>
                  <a:lnTo>
                    <a:pt x="772" y="30"/>
                  </a:lnTo>
                  <a:lnTo>
                    <a:pt x="850" y="14"/>
                  </a:lnTo>
                  <a:lnTo>
                    <a:pt x="932" y="4"/>
                  </a:lnTo>
                  <a:lnTo>
                    <a:pt x="10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160"/>
            <p:cNvSpPr>
              <a:spLocks/>
            </p:cNvSpPr>
            <p:nvPr/>
          </p:nvSpPr>
          <p:spPr bwMode="auto">
            <a:xfrm>
              <a:off x="1147763" y="2427288"/>
              <a:ext cx="39688" cy="101600"/>
            </a:xfrm>
            <a:custGeom>
              <a:avLst/>
              <a:gdLst>
                <a:gd name="T0" fmla="*/ 64 w 128"/>
                <a:gd name="T1" fmla="*/ 0 h 318"/>
                <a:gd name="T2" fmla="*/ 64 w 128"/>
                <a:gd name="T3" fmla="*/ 0 h 318"/>
                <a:gd name="T4" fmla="*/ 81 w 128"/>
                <a:gd name="T5" fmla="*/ 2 h 318"/>
                <a:gd name="T6" fmla="*/ 96 w 128"/>
                <a:gd name="T7" fmla="*/ 9 h 318"/>
                <a:gd name="T8" fmla="*/ 109 w 128"/>
                <a:gd name="T9" fmla="*/ 19 h 318"/>
                <a:gd name="T10" fmla="*/ 120 w 128"/>
                <a:gd name="T11" fmla="*/ 32 h 318"/>
                <a:gd name="T12" fmla="*/ 126 w 128"/>
                <a:gd name="T13" fmla="*/ 47 h 318"/>
                <a:gd name="T14" fmla="*/ 128 w 128"/>
                <a:gd name="T15" fmla="*/ 64 h 318"/>
                <a:gd name="T16" fmla="*/ 128 w 128"/>
                <a:gd name="T17" fmla="*/ 254 h 318"/>
                <a:gd name="T18" fmla="*/ 126 w 128"/>
                <a:gd name="T19" fmla="*/ 272 h 318"/>
                <a:gd name="T20" fmla="*/ 120 w 128"/>
                <a:gd name="T21" fmla="*/ 287 h 318"/>
                <a:gd name="T22" fmla="*/ 109 w 128"/>
                <a:gd name="T23" fmla="*/ 300 h 318"/>
                <a:gd name="T24" fmla="*/ 96 w 128"/>
                <a:gd name="T25" fmla="*/ 310 h 318"/>
                <a:gd name="T26" fmla="*/ 81 w 128"/>
                <a:gd name="T27" fmla="*/ 316 h 318"/>
                <a:gd name="T28" fmla="*/ 64 w 128"/>
                <a:gd name="T29" fmla="*/ 318 h 318"/>
                <a:gd name="T30" fmla="*/ 47 w 128"/>
                <a:gd name="T31" fmla="*/ 316 h 318"/>
                <a:gd name="T32" fmla="*/ 31 w 128"/>
                <a:gd name="T33" fmla="*/ 310 h 318"/>
                <a:gd name="T34" fmla="*/ 19 w 128"/>
                <a:gd name="T35" fmla="*/ 300 h 318"/>
                <a:gd name="T36" fmla="*/ 8 w 128"/>
                <a:gd name="T37" fmla="*/ 287 h 318"/>
                <a:gd name="T38" fmla="*/ 2 w 128"/>
                <a:gd name="T39" fmla="*/ 272 h 318"/>
                <a:gd name="T40" fmla="*/ 0 w 128"/>
                <a:gd name="T41" fmla="*/ 254 h 318"/>
                <a:gd name="T42" fmla="*/ 0 w 128"/>
                <a:gd name="T43" fmla="*/ 64 h 318"/>
                <a:gd name="T44" fmla="*/ 2 w 128"/>
                <a:gd name="T45" fmla="*/ 47 h 318"/>
                <a:gd name="T46" fmla="*/ 8 w 128"/>
                <a:gd name="T47" fmla="*/ 32 h 318"/>
                <a:gd name="T48" fmla="*/ 19 w 128"/>
                <a:gd name="T49" fmla="*/ 19 h 318"/>
                <a:gd name="T50" fmla="*/ 31 w 128"/>
                <a:gd name="T51" fmla="*/ 9 h 318"/>
                <a:gd name="T52" fmla="*/ 47 w 128"/>
                <a:gd name="T53" fmla="*/ 2 h 318"/>
                <a:gd name="T54" fmla="*/ 64 w 128"/>
                <a:gd name="T55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8" h="318">
                  <a:moveTo>
                    <a:pt x="64" y="0"/>
                  </a:moveTo>
                  <a:lnTo>
                    <a:pt x="64" y="0"/>
                  </a:lnTo>
                  <a:lnTo>
                    <a:pt x="81" y="2"/>
                  </a:lnTo>
                  <a:lnTo>
                    <a:pt x="96" y="9"/>
                  </a:lnTo>
                  <a:lnTo>
                    <a:pt x="109" y="19"/>
                  </a:lnTo>
                  <a:lnTo>
                    <a:pt x="120" y="32"/>
                  </a:lnTo>
                  <a:lnTo>
                    <a:pt x="126" y="47"/>
                  </a:lnTo>
                  <a:lnTo>
                    <a:pt x="128" y="64"/>
                  </a:lnTo>
                  <a:lnTo>
                    <a:pt x="128" y="254"/>
                  </a:lnTo>
                  <a:lnTo>
                    <a:pt x="126" y="272"/>
                  </a:lnTo>
                  <a:lnTo>
                    <a:pt x="120" y="287"/>
                  </a:lnTo>
                  <a:lnTo>
                    <a:pt x="109" y="300"/>
                  </a:lnTo>
                  <a:lnTo>
                    <a:pt x="96" y="310"/>
                  </a:lnTo>
                  <a:lnTo>
                    <a:pt x="81" y="316"/>
                  </a:lnTo>
                  <a:lnTo>
                    <a:pt x="64" y="318"/>
                  </a:lnTo>
                  <a:lnTo>
                    <a:pt x="47" y="316"/>
                  </a:lnTo>
                  <a:lnTo>
                    <a:pt x="31" y="310"/>
                  </a:lnTo>
                  <a:lnTo>
                    <a:pt x="19" y="300"/>
                  </a:lnTo>
                  <a:lnTo>
                    <a:pt x="8" y="287"/>
                  </a:lnTo>
                  <a:lnTo>
                    <a:pt x="2" y="272"/>
                  </a:lnTo>
                  <a:lnTo>
                    <a:pt x="0" y="254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9"/>
                  </a:lnTo>
                  <a:lnTo>
                    <a:pt x="31" y="9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161"/>
            <p:cNvSpPr>
              <a:spLocks/>
            </p:cNvSpPr>
            <p:nvPr/>
          </p:nvSpPr>
          <p:spPr bwMode="auto">
            <a:xfrm>
              <a:off x="917575" y="2487613"/>
              <a:ext cx="71438" cy="93663"/>
            </a:xfrm>
            <a:custGeom>
              <a:avLst/>
              <a:gdLst>
                <a:gd name="T0" fmla="*/ 64 w 225"/>
                <a:gd name="T1" fmla="*/ 0 h 293"/>
                <a:gd name="T2" fmla="*/ 81 w 225"/>
                <a:gd name="T3" fmla="*/ 2 h 293"/>
                <a:gd name="T4" fmla="*/ 96 w 225"/>
                <a:gd name="T5" fmla="*/ 8 h 293"/>
                <a:gd name="T6" fmla="*/ 110 w 225"/>
                <a:gd name="T7" fmla="*/ 19 h 293"/>
                <a:gd name="T8" fmla="*/ 120 w 225"/>
                <a:gd name="T9" fmla="*/ 32 h 293"/>
                <a:gd name="T10" fmla="*/ 216 w 225"/>
                <a:gd name="T11" fmla="*/ 198 h 293"/>
                <a:gd name="T12" fmla="*/ 223 w 225"/>
                <a:gd name="T13" fmla="*/ 213 h 293"/>
                <a:gd name="T14" fmla="*/ 225 w 225"/>
                <a:gd name="T15" fmla="*/ 230 h 293"/>
                <a:gd name="T16" fmla="*/ 223 w 225"/>
                <a:gd name="T17" fmla="*/ 246 h 293"/>
                <a:gd name="T18" fmla="*/ 216 w 225"/>
                <a:gd name="T19" fmla="*/ 261 h 293"/>
                <a:gd name="T20" fmla="*/ 207 w 225"/>
                <a:gd name="T21" fmla="*/ 275 h 293"/>
                <a:gd name="T22" fmla="*/ 193 w 225"/>
                <a:gd name="T23" fmla="*/ 285 h 293"/>
                <a:gd name="T24" fmla="*/ 178 w 225"/>
                <a:gd name="T25" fmla="*/ 291 h 293"/>
                <a:gd name="T26" fmla="*/ 161 w 225"/>
                <a:gd name="T27" fmla="*/ 293 h 293"/>
                <a:gd name="T28" fmla="*/ 144 w 225"/>
                <a:gd name="T29" fmla="*/ 291 h 293"/>
                <a:gd name="T30" fmla="*/ 129 w 225"/>
                <a:gd name="T31" fmla="*/ 285 h 293"/>
                <a:gd name="T32" fmla="*/ 116 w 225"/>
                <a:gd name="T33" fmla="*/ 275 h 293"/>
                <a:gd name="T34" fmla="*/ 105 w 225"/>
                <a:gd name="T35" fmla="*/ 261 h 293"/>
                <a:gd name="T36" fmla="*/ 9 w 225"/>
                <a:gd name="T37" fmla="*/ 96 h 293"/>
                <a:gd name="T38" fmla="*/ 3 w 225"/>
                <a:gd name="T39" fmla="*/ 80 h 293"/>
                <a:gd name="T40" fmla="*/ 0 w 225"/>
                <a:gd name="T41" fmla="*/ 63 h 293"/>
                <a:gd name="T42" fmla="*/ 3 w 225"/>
                <a:gd name="T43" fmla="*/ 48 h 293"/>
                <a:gd name="T44" fmla="*/ 9 w 225"/>
                <a:gd name="T45" fmla="*/ 32 h 293"/>
                <a:gd name="T46" fmla="*/ 19 w 225"/>
                <a:gd name="T47" fmla="*/ 20 h 293"/>
                <a:gd name="T48" fmla="*/ 32 w 225"/>
                <a:gd name="T49" fmla="*/ 9 h 293"/>
                <a:gd name="T50" fmla="*/ 49 w 225"/>
                <a:gd name="T51" fmla="*/ 2 h 293"/>
                <a:gd name="T52" fmla="*/ 64 w 225"/>
                <a:gd name="T53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5" h="293">
                  <a:moveTo>
                    <a:pt x="64" y="0"/>
                  </a:moveTo>
                  <a:lnTo>
                    <a:pt x="81" y="2"/>
                  </a:lnTo>
                  <a:lnTo>
                    <a:pt x="96" y="8"/>
                  </a:lnTo>
                  <a:lnTo>
                    <a:pt x="110" y="19"/>
                  </a:lnTo>
                  <a:lnTo>
                    <a:pt x="120" y="32"/>
                  </a:lnTo>
                  <a:lnTo>
                    <a:pt x="216" y="198"/>
                  </a:lnTo>
                  <a:lnTo>
                    <a:pt x="223" y="213"/>
                  </a:lnTo>
                  <a:lnTo>
                    <a:pt x="225" y="230"/>
                  </a:lnTo>
                  <a:lnTo>
                    <a:pt x="223" y="246"/>
                  </a:lnTo>
                  <a:lnTo>
                    <a:pt x="216" y="261"/>
                  </a:lnTo>
                  <a:lnTo>
                    <a:pt x="207" y="275"/>
                  </a:lnTo>
                  <a:lnTo>
                    <a:pt x="193" y="285"/>
                  </a:lnTo>
                  <a:lnTo>
                    <a:pt x="178" y="291"/>
                  </a:lnTo>
                  <a:lnTo>
                    <a:pt x="161" y="293"/>
                  </a:lnTo>
                  <a:lnTo>
                    <a:pt x="144" y="291"/>
                  </a:lnTo>
                  <a:lnTo>
                    <a:pt x="129" y="285"/>
                  </a:lnTo>
                  <a:lnTo>
                    <a:pt x="116" y="275"/>
                  </a:lnTo>
                  <a:lnTo>
                    <a:pt x="105" y="261"/>
                  </a:lnTo>
                  <a:lnTo>
                    <a:pt x="9" y="96"/>
                  </a:lnTo>
                  <a:lnTo>
                    <a:pt x="3" y="80"/>
                  </a:lnTo>
                  <a:lnTo>
                    <a:pt x="0" y="63"/>
                  </a:lnTo>
                  <a:lnTo>
                    <a:pt x="3" y="48"/>
                  </a:lnTo>
                  <a:lnTo>
                    <a:pt x="9" y="32"/>
                  </a:lnTo>
                  <a:lnTo>
                    <a:pt x="19" y="20"/>
                  </a:lnTo>
                  <a:lnTo>
                    <a:pt x="32" y="9"/>
                  </a:lnTo>
                  <a:lnTo>
                    <a:pt x="49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162"/>
            <p:cNvSpPr>
              <a:spLocks/>
            </p:cNvSpPr>
            <p:nvPr/>
          </p:nvSpPr>
          <p:spPr bwMode="auto">
            <a:xfrm>
              <a:off x="750888" y="2655888"/>
              <a:ext cx="93663" cy="69850"/>
            </a:xfrm>
            <a:custGeom>
              <a:avLst/>
              <a:gdLst>
                <a:gd name="T0" fmla="*/ 64 w 295"/>
                <a:gd name="T1" fmla="*/ 0 h 222"/>
                <a:gd name="T2" fmla="*/ 80 w 295"/>
                <a:gd name="T3" fmla="*/ 2 h 222"/>
                <a:gd name="T4" fmla="*/ 96 w 295"/>
                <a:gd name="T5" fmla="*/ 8 h 222"/>
                <a:gd name="T6" fmla="*/ 263 w 295"/>
                <a:gd name="T7" fmla="*/ 103 h 222"/>
                <a:gd name="T8" fmla="*/ 277 w 295"/>
                <a:gd name="T9" fmla="*/ 114 h 222"/>
                <a:gd name="T10" fmla="*/ 286 w 295"/>
                <a:gd name="T11" fmla="*/ 127 h 222"/>
                <a:gd name="T12" fmla="*/ 293 w 295"/>
                <a:gd name="T13" fmla="*/ 142 h 222"/>
                <a:gd name="T14" fmla="*/ 295 w 295"/>
                <a:gd name="T15" fmla="*/ 158 h 222"/>
                <a:gd name="T16" fmla="*/ 293 w 295"/>
                <a:gd name="T17" fmla="*/ 174 h 222"/>
                <a:gd name="T18" fmla="*/ 286 w 295"/>
                <a:gd name="T19" fmla="*/ 190 h 222"/>
                <a:gd name="T20" fmla="*/ 276 w 295"/>
                <a:gd name="T21" fmla="*/ 204 h 222"/>
                <a:gd name="T22" fmla="*/ 262 w 295"/>
                <a:gd name="T23" fmla="*/ 214 h 222"/>
                <a:gd name="T24" fmla="*/ 246 w 295"/>
                <a:gd name="T25" fmla="*/ 220 h 222"/>
                <a:gd name="T26" fmla="*/ 231 w 295"/>
                <a:gd name="T27" fmla="*/ 222 h 222"/>
                <a:gd name="T28" fmla="*/ 214 w 295"/>
                <a:gd name="T29" fmla="*/ 220 h 222"/>
                <a:gd name="T30" fmla="*/ 198 w 295"/>
                <a:gd name="T31" fmla="*/ 213 h 222"/>
                <a:gd name="T32" fmla="*/ 31 w 295"/>
                <a:gd name="T33" fmla="*/ 118 h 222"/>
                <a:gd name="T34" fmla="*/ 18 w 295"/>
                <a:gd name="T35" fmla="*/ 108 h 222"/>
                <a:gd name="T36" fmla="*/ 8 w 295"/>
                <a:gd name="T37" fmla="*/ 94 h 222"/>
                <a:gd name="T38" fmla="*/ 2 w 295"/>
                <a:gd name="T39" fmla="*/ 80 h 222"/>
                <a:gd name="T40" fmla="*/ 0 w 295"/>
                <a:gd name="T41" fmla="*/ 63 h 222"/>
                <a:gd name="T42" fmla="*/ 2 w 295"/>
                <a:gd name="T43" fmla="*/ 46 h 222"/>
                <a:gd name="T44" fmla="*/ 8 w 295"/>
                <a:gd name="T45" fmla="*/ 31 h 222"/>
                <a:gd name="T46" fmla="*/ 19 w 295"/>
                <a:gd name="T47" fmla="*/ 17 h 222"/>
                <a:gd name="T48" fmla="*/ 32 w 295"/>
                <a:gd name="T49" fmla="*/ 8 h 222"/>
                <a:gd name="T50" fmla="*/ 47 w 295"/>
                <a:gd name="T51" fmla="*/ 2 h 222"/>
                <a:gd name="T52" fmla="*/ 64 w 295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2">
                  <a:moveTo>
                    <a:pt x="64" y="0"/>
                  </a:moveTo>
                  <a:lnTo>
                    <a:pt x="80" y="2"/>
                  </a:lnTo>
                  <a:lnTo>
                    <a:pt x="96" y="8"/>
                  </a:lnTo>
                  <a:lnTo>
                    <a:pt x="263" y="103"/>
                  </a:lnTo>
                  <a:lnTo>
                    <a:pt x="277" y="114"/>
                  </a:lnTo>
                  <a:lnTo>
                    <a:pt x="286" y="127"/>
                  </a:lnTo>
                  <a:lnTo>
                    <a:pt x="293" y="142"/>
                  </a:lnTo>
                  <a:lnTo>
                    <a:pt x="295" y="158"/>
                  </a:lnTo>
                  <a:lnTo>
                    <a:pt x="293" y="174"/>
                  </a:lnTo>
                  <a:lnTo>
                    <a:pt x="286" y="190"/>
                  </a:lnTo>
                  <a:lnTo>
                    <a:pt x="276" y="204"/>
                  </a:lnTo>
                  <a:lnTo>
                    <a:pt x="262" y="214"/>
                  </a:lnTo>
                  <a:lnTo>
                    <a:pt x="246" y="220"/>
                  </a:lnTo>
                  <a:lnTo>
                    <a:pt x="231" y="222"/>
                  </a:lnTo>
                  <a:lnTo>
                    <a:pt x="214" y="220"/>
                  </a:lnTo>
                  <a:lnTo>
                    <a:pt x="198" y="213"/>
                  </a:lnTo>
                  <a:lnTo>
                    <a:pt x="31" y="118"/>
                  </a:lnTo>
                  <a:lnTo>
                    <a:pt x="18" y="108"/>
                  </a:lnTo>
                  <a:lnTo>
                    <a:pt x="8" y="94"/>
                  </a:lnTo>
                  <a:lnTo>
                    <a:pt x="2" y="80"/>
                  </a:lnTo>
                  <a:lnTo>
                    <a:pt x="0" y="63"/>
                  </a:lnTo>
                  <a:lnTo>
                    <a:pt x="2" y="46"/>
                  </a:lnTo>
                  <a:lnTo>
                    <a:pt x="8" y="31"/>
                  </a:lnTo>
                  <a:lnTo>
                    <a:pt x="19" y="17"/>
                  </a:lnTo>
                  <a:lnTo>
                    <a:pt x="32" y="8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163"/>
            <p:cNvSpPr>
              <a:spLocks/>
            </p:cNvSpPr>
            <p:nvPr/>
          </p:nvSpPr>
          <p:spPr bwMode="auto">
            <a:xfrm>
              <a:off x="688975" y="2882900"/>
              <a:ext cx="101600" cy="39688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3 h 128"/>
                <a:gd name="T6" fmla="*/ 289 w 321"/>
                <a:gd name="T7" fmla="*/ 9 h 128"/>
                <a:gd name="T8" fmla="*/ 302 w 321"/>
                <a:gd name="T9" fmla="*/ 18 h 128"/>
                <a:gd name="T10" fmla="*/ 312 w 321"/>
                <a:gd name="T11" fmla="*/ 32 h 128"/>
                <a:gd name="T12" fmla="*/ 319 w 321"/>
                <a:gd name="T13" fmla="*/ 47 h 128"/>
                <a:gd name="T14" fmla="*/ 321 w 321"/>
                <a:gd name="T15" fmla="*/ 64 h 128"/>
                <a:gd name="T16" fmla="*/ 319 w 321"/>
                <a:gd name="T17" fmla="*/ 81 h 128"/>
                <a:gd name="T18" fmla="*/ 312 w 321"/>
                <a:gd name="T19" fmla="*/ 95 h 128"/>
                <a:gd name="T20" fmla="*/ 302 w 321"/>
                <a:gd name="T21" fmla="*/ 109 h 128"/>
                <a:gd name="T22" fmla="*/ 289 w 321"/>
                <a:gd name="T23" fmla="*/ 118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2 w 321"/>
                <a:gd name="T33" fmla="*/ 118 h 128"/>
                <a:gd name="T34" fmla="*/ 19 w 321"/>
                <a:gd name="T35" fmla="*/ 109 h 128"/>
                <a:gd name="T36" fmla="*/ 9 w 321"/>
                <a:gd name="T37" fmla="*/ 95 h 128"/>
                <a:gd name="T38" fmla="*/ 2 w 321"/>
                <a:gd name="T39" fmla="*/ 81 h 128"/>
                <a:gd name="T40" fmla="*/ 0 w 321"/>
                <a:gd name="T41" fmla="*/ 64 h 128"/>
                <a:gd name="T42" fmla="*/ 2 w 321"/>
                <a:gd name="T43" fmla="*/ 47 h 128"/>
                <a:gd name="T44" fmla="*/ 9 w 321"/>
                <a:gd name="T45" fmla="*/ 32 h 128"/>
                <a:gd name="T46" fmla="*/ 19 w 321"/>
                <a:gd name="T47" fmla="*/ 18 h 128"/>
                <a:gd name="T48" fmla="*/ 32 w 321"/>
                <a:gd name="T49" fmla="*/ 9 h 128"/>
                <a:gd name="T50" fmla="*/ 47 w 321"/>
                <a:gd name="T51" fmla="*/ 3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3"/>
                  </a:lnTo>
                  <a:lnTo>
                    <a:pt x="289" y="9"/>
                  </a:lnTo>
                  <a:lnTo>
                    <a:pt x="302" y="18"/>
                  </a:lnTo>
                  <a:lnTo>
                    <a:pt x="312" y="32"/>
                  </a:lnTo>
                  <a:lnTo>
                    <a:pt x="319" y="47"/>
                  </a:lnTo>
                  <a:lnTo>
                    <a:pt x="321" y="64"/>
                  </a:lnTo>
                  <a:lnTo>
                    <a:pt x="319" y="81"/>
                  </a:lnTo>
                  <a:lnTo>
                    <a:pt x="312" y="95"/>
                  </a:lnTo>
                  <a:lnTo>
                    <a:pt x="302" y="109"/>
                  </a:lnTo>
                  <a:lnTo>
                    <a:pt x="289" y="118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2" y="118"/>
                  </a:lnTo>
                  <a:lnTo>
                    <a:pt x="19" y="109"/>
                  </a:lnTo>
                  <a:lnTo>
                    <a:pt x="9" y="95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9" y="32"/>
                  </a:lnTo>
                  <a:lnTo>
                    <a:pt x="19" y="18"/>
                  </a:lnTo>
                  <a:lnTo>
                    <a:pt x="32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164"/>
            <p:cNvSpPr>
              <a:spLocks/>
            </p:cNvSpPr>
            <p:nvPr/>
          </p:nvSpPr>
          <p:spPr bwMode="auto">
            <a:xfrm>
              <a:off x="750888" y="3079750"/>
              <a:ext cx="93663" cy="71438"/>
            </a:xfrm>
            <a:custGeom>
              <a:avLst/>
              <a:gdLst>
                <a:gd name="T0" fmla="*/ 231 w 295"/>
                <a:gd name="T1" fmla="*/ 0 h 224"/>
                <a:gd name="T2" fmla="*/ 247 w 295"/>
                <a:gd name="T3" fmla="*/ 3 h 224"/>
                <a:gd name="T4" fmla="*/ 262 w 295"/>
                <a:gd name="T5" fmla="*/ 8 h 224"/>
                <a:gd name="T6" fmla="*/ 276 w 295"/>
                <a:gd name="T7" fmla="*/ 19 h 224"/>
                <a:gd name="T8" fmla="*/ 286 w 295"/>
                <a:gd name="T9" fmla="*/ 32 h 224"/>
                <a:gd name="T10" fmla="*/ 293 w 295"/>
                <a:gd name="T11" fmla="*/ 48 h 224"/>
                <a:gd name="T12" fmla="*/ 295 w 295"/>
                <a:gd name="T13" fmla="*/ 65 h 224"/>
                <a:gd name="T14" fmla="*/ 293 w 295"/>
                <a:gd name="T15" fmla="*/ 80 h 224"/>
                <a:gd name="T16" fmla="*/ 286 w 295"/>
                <a:gd name="T17" fmla="*/ 96 h 224"/>
                <a:gd name="T18" fmla="*/ 276 w 295"/>
                <a:gd name="T19" fmla="*/ 109 h 224"/>
                <a:gd name="T20" fmla="*/ 263 w 295"/>
                <a:gd name="T21" fmla="*/ 120 h 224"/>
                <a:gd name="T22" fmla="*/ 96 w 295"/>
                <a:gd name="T23" fmla="*/ 215 h 224"/>
                <a:gd name="T24" fmla="*/ 81 w 295"/>
                <a:gd name="T25" fmla="*/ 221 h 224"/>
                <a:gd name="T26" fmla="*/ 64 w 295"/>
                <a:gd name="T27" fmla="*/ 224 h 224"/>
                <a:gd name="T28" fmla="*/ 47 w 295"/>
                <a:gd name="T29" fmla="*/ 221 h 224"/>
                <a:gd name="T30" fmla="*/ 32 w 295"/>
                <a:gd name="T31" fmla="*/ 216 h 224"/>
                <a:gd name="T32" fmla="*/ 19 w 295"/>
                <a:gd name="T33" fmla="*/ 205 h 224"/>
                <a:gd name="T34" fmla="*/ 8 w 295"/>
                <a:gd name="T35" fmla="*/ 192 h 224"/>
                <a:gd name="T36" fmla="*/ 2 w 295"/>
                <a:gd name="T37" fmla="*/ 176 h 224"/>
                <a:gd name="T38" fmla="*/ 0 w 295"/>
                <a:gd name="T39" fmla="*/ 159 h 224"/>
                <a:gd name="T40" fmla="*/ 2 w 295"/>
                <a:gd name="T41" fmla="*/ 144 h 224"/>
                <a:gd name="T42" fmla="*/ 8 w 295"/>
                <a:gd name="T43" fmla="*/ 128 h 224"/>
                <a:gd name="T44" fmla="*/ 18 w 295"/>
                <a:gd name="T45" fmla="*/ 116 h 224"/>
                <a:gd name="T46" fmla="*/ 31 w 295"/>
                <a:gd name="T47" fmla="*/ 105 h 224"/>
                <a:gd name="T48" fmla="*/ 198 w 295"/>
                <a:gd name="T49" fmla="*/ 10 h 224"/>
                <a:gd name="T50" fmla="*/ 215 w 295"/>
                <a:gd name="T51" fmla="*/ 2 h 224"/>
                <a:gd name="T52" fmla="*/ 231 w 295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4">
                  <a:moveTo>
                    <a:pt x="231" y="0"/>
                  </a:moveTo>
                  <a:lnTo>
                    <a:pt x="247" y="3"/>
                  </a:lnTo>
                  <a:lnTo>
                    <a:pt x="262" y="8"/>
                  </a:lnTo>
                  <a:lnTo>
                    <a:pt x="276" y="19"/>
                  </a:lnTo>
                  <a:lnTo>
                    <a:pt x="286" y="32"/>
                  </a:lnTo>
                  <a:lnTo>
                    <a:pt x="293" y="48"/>
                  </a:lnTo>
                  <a:lnTo>
                    <a:pt x="295" y="65"/>
                  </a:lnTo>
                  <a:lnTo>
                    <a:pt x="293" y="80"/>
                  </a:lnTo>
                  <a:lnTo>
                    <a:pt x="286" y="96"/>
                  </a:lnTo>
                  <a:lnTo>
                    <a:pt x="276" y="109"/>
                  </a:lnTo>
                  <a:lnTo>
                    <a:pt x="263" y="120"/>
                  </a:lnTo>
                  <a:lnTo>
                    <a:pt x="96" y="215"/>
                  </a:lnTo>
                  <a:lnTo>
                    <a:pt x="81" y="221"/>
                  </a:lnTo>
                  <a:lnTo>
                    <a:pt x="64" y="224"/>
                  </a:lnTo>
                  <a:lnTo>
                    <a:pt x="47" y="221"/>
                  </a:lnTo>
                  <a:lnTo>
                    <a:pt x="32" y="216"/>
                  </a:lnTo>
                  <a:lnTo>
                    <a:pt x="19" y="205"/>
                  </a:lnTo>
                  <a:lnTo>
                    <a:pt x="8" y="192"/>
                  </a:lnTo>
                  <a:lnTo>
                    <a:pt x="2" y="176"/>
                  </a:lnTo>
                  <a:lnTo>
                    <a:pt x="0" y="159"/>
                  </a:lnTo>
                  <a:lnTo>
                    <a:pt x="2" y="144"/>
                  </a:lnTo>
                  <a:lnTo>
                    <a:pt x="8" y="128"/>
                  </a:lnTo>
                  <a:lnTo>
                    <a:pt x="18" y="116"/>
                  </a:lnTo>
                  <a:lnTo>
                    <a:pt x="31" y="105"/>
                  </a:lnTo>
                  <a:lnTo>
                    <a:pt x="198" y="10"/>
                  </a:lnTo>
                  <a:lnTo>
                    <a:pt x="215" y="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165"/>
            <p:cNvSpPr>
              <a:spLocks/>
            </p:cNvSpPr>
            <p:nvPr/>
          </p:nvSpPr>
          <p:spPr bwMode="auto">
            <a:xfrm>
              <a:off x="1492250" y="3079750"/>
              <a:ext cx="93663" cy="71438"/>
            </a:xfrm>
            <a:custGeom>
              <a:avLst/>
              <a:gdLst>
                <a:gd name="T0" fmla="*/ 64 w 295"/>
                <a:gd name="T1" fmla="*/ 0 h 224"/>
                <a:gd name="T2" fmla="*/ 81 w 295"/>
                <a:gd name="T3" fmla="*/ 2 h 224"/>
                <a:gd name="T4" fmla="*/ 97 w 295"/>
                <a:gd name="T5" fmla="*/ 10 h 224"/>
                <a:gd name="T6" fmla="*/ 263 w 295"/>
                <a:gd name="T7" fmla="*/ 105 h 224"/>
                <a:gd name="T8" fmla="*/ 277 w 295"/>
                <a:gd name="T9" fmla="*/ 116 h 224"/>
                <a:gd name="T10" fmla="*/ 287 w 295"/>
                <a:gd name="T11" fmla="*/ 128 h 224"/>
                <a:gd name="T12" fmla="*/ 293 w 295"/>
                <a:gd name="T13" fmla="*/ 144 h 224"/>
                <a:gd name="T14" fmla="*/ 295 w 295"/>
                <a:gd name="T15" fmla="*/ 159 h 224"/>
                <a:gd name="T16" fmla="*/ 293 w 295"/>
                <a:gd name="T17" fmla="*/ 176 h 224"/>
                <a:gd name="T18" fmla="*/ 287 w 295"/>
                <a:gd name="T19" fmla="*/ 192 h 224"/>
                <a:gd name="T20" fmla="*/ 276 w 295"/>
                <a:gd name="T21" fmla="*/ 205 h 224"/>
                <a:gd name="T22" fmla="*/ 262 w 295"/>
                <a:gd name="T23" fmla="*/ 216 h 224"/>
                <a:gd name="T24" fmla="*/ 248 w 295"/>
                <a:gd name="T25" fmla="*/ 221 h 224"/>
                <a:gd name="T26" fmla="*/ 231 w 295"/>
                <a:gd name="T27" fmla="*/ 224 h 224"/>
                <a:gd name="T28" fmla="*/ 214 w 295"/>
                <a:gd name="T29" fmla="*/ 221 h 224"/>
                <a:gd name="T30" fmla="*/ 198 w 295"/>
                <a:gd name="T31" fmla="*/ 215 h 224"/>
                <a:gd name="T32" fmla="*/ 32 w 295"/>
                <a:gd name="T33" fmla="*/ 120 h 224"/>
                <a:gd name="T34" fmla="*/ 19 w 295"/>
                <a:gd name="T35" fmla="*/ 109 h 224"/>
                <a:gd name="T36" fmla="*/ 9 w 295"/>
                <a:gd name="T37" fmla="*/ 96 h 224"/>
                <a:gd name="T38" fmla="*/ 2 w 295"/>
                <a:gd name="T39" fmla="*/ 80 h 224"/>
                <a:gd name="T40" fmla="*/ 0 w 295"/>
                <a:gd name="T41" fmla="*/ 65 h 224"/>
                <a:gd name="T42" fmla="*/ 2 w 295"/>
                <a:gd name="T43" fmla="*/ 48 h 224"/>
                <a:gd name="T44" fmla="*/ 9 w 295"/>
                <a:gd name="T45" fmla="*/ 32 h 224"/>
                <a:gd name="T46" fmla="*/ 19 w 295"/>
                <a:gd name="T47" fmla="*/ 19 h 224"/>
                <a:gd name="T48" fmla="*/ 33 w 295"/>
                <a:gd name="T49" fmla="*/ 8 h 224"/>
                <a:gd name="T50" fmla="*/ 47 w 295"/>
                <a:gd name="T51" fmla="*/ 3 h 224"/>
                <a:gd name="T52" fmla="*/ 64 w 295"/>
                <a:gd name="T53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4">
                  <a:moveTo>
                    <a:pt x="64" y="0"/>
                  </a:moveTo>
                  <a:lnTo>
                    <a:pt x="81" y="2"/>
                  </a:lnTo>
                  <a:lnTo>
                    <a:pt x="97" y="10"/>
                  </a:lnTo>
                  <a:lnTo>
                    <a:pt x="263" y="105"/>
                  </a:lnTo>
                  <a:lnTo>
                    <a:pt x="277" y="116"/>
                  </a:lnTo>
                  <a:lnTo>
                    <a:pt x="287" y="128"/>
                  </a:lnTo>
                  <a:lnTo>
                    <a:pt x="293" y="144"/>
                  </a:lnTo>
                  <a:lnTo>
                    <a:pt x="295" y="159"/>
                  </a:lnTo>
                  <a:lnTo>
                    <a:pt x="293" y="176"/>
                  </a:lnTo>
                  <a:lnTo>
                    <a:pt x="287" y="192"/>
                  </a:lnTo>
                  <a:lnTo>
                    <a:pt x="276" y="205"/>
                  </a:lnTo>
                  <a:lnTo>
                    <a:pt x="262" y="216"/>
                  </a:lnTo>
                  <a:lnTo>
                    <a:pt x="248" y="221"/>
                  </a:lnTo>
                  <a:lnTo>
                    <a:pt x="231" y="224"/>
                  </a:lnTo>
                  <a:lnTo>
                    <a:pt x="214" y="221"/>
                  </a:lnTo>
                  <a:lnTo>
                    <a:pt x="198" y="215"/>
                  </a:lnTo>
                  <a:lnTo>
                    <a:pt x="32" y="120"/>
                  </a:lnTo>
                  <a:lnTo>
                    <a:pt x="19" y="109"/>
                  </a:lnTo>
                  <a:lnTo>
                    <a:pt x="9" y="96"/>
                  </a:lnTo>
                  <a:lnTo>
                    <a:pt x="2" y="80"/>
                  </a:lnTo>
                  <a:lnTo>
                    <a:pt x="0" y="65"/>
                  </a:lnTo>
                  <a:lnTo>
                    <a:pt x="2" y="48"/>
                  </a:lnTo>
                  <a:lnTo>
                    <a:pt x="9" y="32"/>
                  </a:lnTo>
                  <a:lnTo>
                    <a:pt x="19" y="19"/>
                  </a:lnTo>
                  <a:lnTo>
                    <a:pt x="33" y="8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166"/>
            <p:cNvSpPr>
              <a:spLocks/>
            </p:cNvSpPr>
            <p:nvPr/>
          </p:nvSpPr>
          <p:spPr bwMode="auto">
            <a:xfrm>
              <a:off x="1544638" y="2882900"/>
              <a:ext cx="101600" cy="39688"/>
            </a:xfrm>
            <a:custGeom>
              <a:avLst/>
              <a:gdLst>
                <a:gd name="T0" fmla="*/ 64 w 321"/>
                <a:gd name="T1" fmla="*/ 0 h 128"/>
                <a:gd name="T2" fmla="*/ 257 w 321"/>
                <a:gd name="T3" fmla="*/ 0 h 128"/>
                <a:gd name="T4" fmla="*/ 274 w 321"/>
                <a:gd name="T5" fmla="*/ 3 h 128"/>
                <a:gd name="T6" fmla="*/ 289 w 321"/>
                <a:gd name="T7" fmla="*/ 9 h 128"/>
                <a:gd name="T8" fmla="*/ 302 w 321"/>
                <a:gd name="T9" fmla="*/ 18 h 128"/>
                <a:gd name="T10" fmla="*/ 311 w 321"/>
                <a:gd name="T11" fmla="*/ 32 h 128"/>
                <a:gd name="T12" fmla="*/ 319 w 321"/>
                <a:gd name="T13" fmla="*/ 47 h 128"/>
                <a:gd name="T14" fmla="*/ 321 w 321"/>
                <a:gd name="T15" fmla="*/ 64 h 128"/>
                <a:gd name="T16" fmla="*/ 319 w 321"/>
                <a:gd name="T17" fmla="*/ 81 h 128"/>
                <a:gd name="T18" fmla="*/ 311 w 321"/>
                <a:gd name="T19" fmla="*/ 95 h 128"/>
                <a:gd name="T20" fmla="*/ 302 w 321"/>
                <a:gd name="T21" fmla="*/ 109 h 128"/>
                <a:gd name="T22" fmla="*/ 289 w 321"/>
                <a:gd name="T23" fmla="*/ 118 h 128"/>
                <a:gd name="T24" fmla="*/ 274 w 321"/>
                <a:gd name="T25" fmla="*/ 126 h 128"/>
                <a:gd name="T26" fmla="*/ 257 w 321"/>
                <a:gd name="T27" fmla="*/ 128 h 128"/>
                <a:gd name="T28" fmla="*/ 64 w 321"/>
                <a:gd name="T29" fmla="*/ 128 h 128"/>
                <a:gd name="T30" fmla="*/ 47 w 321"/>
                <a:gd name="T31" fmla="*/ 126 h 128"/>
                <a:gd name="T32" fmla="*/ 31 w 321"/>
                <a:gd name="T33" fmla="*/ 118 h 128"/>
                <a:gd name="T34" fmla="*/ 19 w 321"/>
                <a:gd name="T35" fmla="*/ 109 h 128"/>
                <a:gd name="T36" fmla="*/ 8 w 321"/>
                <a:gd name="T37" fmla="*/ 95 h 128"/>
                <a:gd name="T38" fmla="*/ 2 w 321"/>
                <a:gd name="T39" fmla="*/ 81 h 128"/>
                <a:gd name="T40" fmla="*/ 0 w 321"/>
                <a:gd name="T41" fmla="*/ 64 h 128"/>
                <a:gd name="T42" fmla="*/ 2 w 321"/>
                <a:gd name="T43" fmla="*/ 47 h 128"/>
                <a:gd name="T44" fmla="*/ 8 w 321"/>
                <a:gd name="T45" fmla="*/ 32 h 128"/>
                <a:gd name="T46" fmla="*/ 19 w 321"/>
                <a:gd name="T47" fmla="*/ 18 h 128"/>
                <a:gd name="T48" fmla="*/ 31 w 321"/>
                <a:gd name="T49" fmla="*/ 9 h 128"/>
                <a:gd name="T50" fmla="*/ 47 w 321"/>
                <a:gd name="T51" fmla="*/ 3 h 128"/>
                <a:gd name="T52" fmla="*/ 64 w 321"/>
                <a:gd name="T5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128">
                  <a:moveTo>
                    <a:pt x="64" y="0"/>
                  </a:moveTo>
                  <a:lnTo>
                    <a:pt x="257" y="0"/>
                  </a:lnTo>
                  <a:lnTo>
                    <a:pt x="274" y="3"/>
                  </a:lnTo>
                  <a:lnTo>
                    <a:pt x="289" y="9"/>
                  </a:lnTo>
                  <a:lnTo>
                    <a:pt x="302" y="18"/>
                  </a:lnTo>
                  <a:lnTo>
                    <a:pt x="311" y="32"/>
                  </a:lnTo>
                  <a:lnTo>
                    <a:pt x="319" y="47"/>
                  </a:lnTo>
                  <a:lnTo>
                    <a:pt x="321" y="64"/>
                  </a:lnTo>
                  <a:lnTo>
                    <a:pt x="319" y="81"/>
                  </a:lnTo>
                  <a:lnTo>
                    <a:pt x="311" y="95"/>
                  </a:lnTo>
                  <a:lnTo>
                    <a:pt x="302" y="109"/>
                  </a:lnTo>
                  <a:lnTo>
                    <a:pt x="289" y="118"/>
                  </a:lnTo>
                  <a:lnTo>
                    <a:pt x="274" y="126"/>
                  </a:lnTo>
                  <a:lnTo>
                    <a:pt x="257" y="128"/>
                  </a:lnTo>
                  <a:lnTo>
                    <a:pt x="64" y="128"/>
                  </a:lnTo>
                  <a:lnTo>
                    <a:pt x="47" y="126"/>
                  </a:lnTo>
                  <a:lnTo>
                    <a:pt x="31" y="118"/>
                  </a:lnTo>
                  <a:lnTo>
                    <a:pt x="19" y="109"/>
                  </a:lnTo>
                  <a:lnTo>
                    <a:pt x="8" y="95"/>
                  </a:lnTo>
                  <a:lnTo>
                    <a:pt x="2" y="81"/>
                  </a:lnTo>
                  <a:lnTo>
                    <a:pt x="0" y="64"/>
                  </a:lnTo>
                  <a:lnTo>
                    <a:pt x="2" y="47"/>
                  </a:lnTo>
                  <a:lnTo>
                    <a:pt x="8" y="32"/>
                  </a:lnTo>
                  <a:lnTo>
                    <a:pt x="19" y="18"/>
                  </a:lnTo>
                  <a:lnTo>
                    <a:pt x="31" y="9"/>
                  </a:lnTo>
                  <a:lnTo>
                    <a:pt x="47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167"/>
            <p:cNvSpPr>
              <a:spLocks/>
            </p:cNvSpPr>
            <p:nvPr/>
          </p:nvSpPr>
          <p:spPr bwMode="auto">
            <a:xfrm>
              <a:off x="1492250" y="2655888"/>
              <a:ext cx="93663" cy="69850"/>
            </a:xfrm>
            <a:custGeom>
              <a:avLst/>
              <a:gdLst>
                <a:gd name="T0" fmla="*/ 231 w 295"/>
                <a:gd name="T1" fmla="*/ 0 h 222"/>
                <a:gd name="T2" fmla="*/ 248 w 295"/>
                <a:gd name="T3" fmla="*/ 2 h 222"/>
                <a:gd name="T4" fmla="*/ 262 w 295"/>
                <a:gd name="T5" fmla="*/ 8 h 222"/>
                <a:gd name="T6" fmla="*/ 276 w 295"/>
                <a:gd name="T7" fmla="*/ 17 h 222"/>
                <a:gd name="T8" fmla="*/ 287 w 295"/>
                <a:gd name="T9" fmla="*/ 31 h 222"/>
                <a:gd name="T10" fmla="*/ 293 w 295"/>
                <a:gd name="T11" fmla="*/ 46 h 222"/>
                <a:gd name="T12" fmla="*/ 295 w 295"/>
                <a:gd name="T13" fmla="*/ 63 h 222"/>
                <a:gd name="T14" fmla="*/ 293 w 295"/>
                <a:gd name="T15" fmla="*/ 80 h 222"/>
                <a:gd name="T16" fmla="*/ 287 w 295"/>
                <a:gd name="T17" fmla="*/ 94 h 222"/>
                <a:gd name="T18" fmla="*/ 277 w 295"/>
                <a:gd name="T19" fmla="*/ 108 h 222"/>
                <a:gd name="T20" fmla="*/ 263 w 295"/>
                <a:gd name="T21" fmla="*/ 118 h 222"/>
                <a:gd name="T22" fmla="*/ 97 w 295"/>
                <a:gd name="T23" fmla="*/ 213 h 222"/>
                <a:gd name="T24" fmla="*/ 81 w 295"/>
                <a:gd name="T25" fmla="*/ 220 h 222"/>
                <a:gd name="T26" fmla="*/ 64 w 295"/>
                <a:gd name="T27" fmla="*/ 222 h 222"/>
                <a:gd name="T28" fmla="*/ 48 w 295"/>
                <a:gd name="T29" fmla="*/ 220 h 222"/>
                <a:gd name="T30" fmla="*/ 33 w 295"/>
                <a:gd name="T31" fmla="*/ 214 h 222"/>
                <a:gd name="T32" fmla="*/ 19 w 295"/>
                <a:gd name="T33" fmla="*/ 204 h 222"/>
                <a:gd name="T34" fmla="*/ 9 w 295"/>
                <a:gd name="T35" fmla="*/ 190 h 222"/>
                <a:gd name="T36" fmla="*/ 2 w 295"/>
                <a:gd name="T37" fmla="*/ 174 h 222"/>
                <a:gd name="T38" fmla="*/ 0 w 295"/>
                <a:gd name="T39" fmla="*/ 158 h 222"/>
                <a:gd name="T40" fmla="*/ 2 w 295"/>
                <a:gd name="T41" fmla="*/ 142 h 222"/>
                <a:gd name="T42" fmla="*/ 9 w 295"/>
                <a:gd name="T43" fmla="*/ 127 h 222"/>
                <a:gd name="T44" fmla="*/ 19 w 295"/>
                <a:gd name="T45" fmla="*/ 114 h 222"/>
                <a:gd name="T46" fmla="*/ 32 w 295"/>
                <a:gd name="T47" fmla="*/ 103 h 222"/>
                <a:gd name="T48" fmla="*/ 198 w 295"/>
                <a:gd name="T49" fmla="*/ 8 h 222"/>
                <a:gd name="T50" fmla="*/ 215 w 295"/>
                <a:gd name="T51" fmla="*/ 2 h 222"/>
                <a:gd name="T52" fmla="*/ 231 w 295"/>
                <a:gd name="T5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5" h="222">
                  <a:moveTo>
                    <a:pt x="231" y="0"/>
                  </a:moveTo>
                  <a:lnTo>
                    <a:pt x="248" y="2"/>
                  </a:lnTo>
                  <a:lnTo>
                    <a:pt x="262" y="8"/>
                  </a:lnTo>
                  <a:lnTo>
                    <a:pt x="276" y="17"/>
                  </a:lnTo>
                  <a:lnTo>
                    <a:pt x="287" y="31"/>
                  </a:lnTo>
                  <a:lnTo>
                    <a:pt x="293" y="46"/>
                  </a:lnTo>
                  <a:lnTo>
                    <a:pt x="295" y="63"/>
                  </a:lnTo>
                  <a:lnTo>
                    <a:pt x="293" y="80"/>
                  </a:lnTo>
                  <a:lnTo>
                    <a:pt x="287" y="94"/>
                  </a:lnTo>
                  <a:lnTo>
                    <a:pt x="277" y="108"/>
                  </a:lnTo>
                  <a:lnTo>
                    <a:pt x="263" y="118"/>
                  </a:lnTo>
                  <a:lnTo>
                    <a:pt x="97" y="213"/>
                  </a:lnTo>
                  <a:lnTo>
                    <a:pt x="81" y="220"/>
                  </a:lnTo>
                  <a:lnTo>
                    <a:pt x="64" y="222"/>
                  </a:lnTo>
                  <a:lnTo>
                    <a:pt x="48" y="220"/>
                  </a:lnTo>
                  <a:lnTo>
                    <a:pt x="33" y="214"/>
                  </a:lnTo>
                  <a:lnTo>
                    <a:pt x="19" y="204"/>
                  </a:lnTo>
                  <a:lnTo>
                    <a:pt x="9" y="190"/>
                  </a:lnTo>
                  <a:lnTo>
                    <a:pt x="2" y="174"/>
                  </a:lnTo>
                  <a:lnTo>
                    <a:pt x="0" y="158"/>
                  </a:lnTo>
                  <a:lnTo>
                    <a:pt x="2" y="142"/>
                  </a:lnTo>
                  <a:lnTo>
                    <a:pt x="9" y="127"/>
                  </a:lnTo>
                  <a:lnTo>
                    <a:pt x="19" y="114"/>
                  </a:lnTo>
                  <a:lnTo>
                    <a:pt x="32" y="103"/>
                  </a:lnTo>
                  <a:lnTo>
                    <a:pt x="198" y="8"/>
                  </a:lnTo>
                  <a:lnTo>
                    <a:pt x="215" y="2"/>
                  </a:lnTo>
                  <a:lnTo>
                    <a:pt x="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168"/>
            <p:cNvSpPr>
              <a:spLocks/>
            </p:cNvSpPr>
            <p:nvPr/>
          </p:nvSpPr>
          <p:spPr bwMode="auto">
            <a:xfrm>
              <a:off x="1346200" y="2487613"/>
              <a:ext cx="71438" cy="93663"/>
            </a:xfrm>
            <a:custGeom>
              <a:avLst/>
              <a:gdLst>
                <a:gd name="T0" fmla="*/ 159 w 224"/>
                <a:gd name="T1" fmla="*/ 0 h 292"/>
                <a:gd name="T2" fmla="*/ 176 w 224"/>
                <a:gd name="T3" fmla="*/ 2 h 292"/>
                <a:gd name="T4" fmla="*/ 192 w 224"/>
                <a:gd name="T5" fmla="*/ 9 h 292"/>
                <a:gd name="T6" fmla="*/ 206 w 224"/>
                <a:gd name="T7" fmla="*/ 20 h 292"/>
                <a:gd name="T8" fmla="*/ 216 w 224"/>
                <a:gd name="T9" fmla="*/ 32 h 292"/>
                <a:gd name="T10" fmla="*/ 222 w 224"/>
                <a:gd name="T11" fmla="*/ 48 h 292"/>
                <a:gd name="T12" fmla="*/ 224 w 224"/>
                <a:gd name="T13" fmla="*/ 63 h 292"/>
                <a:gd name="T14" fmla="*/ 222 w 224"/>
                <a:gd name="T15" fmla="*/ 80 h 292"/>
                <a:gd name="T16" fmla="*/ 216 w 224"/>
                <a:gd name="T17" fmla="*/ 96 h 292"/>
                <a:gd name="T18" fmla="*/ 120 w 224"/>
                <a:gd name="T19" fmla="*/ 261 h 292"/>
                <a:gd name="T20" fmla="*/ 109 w 224"/>
                <a:gd name="T21" fmla="*/ 275 h 292"/>
                <a:gd name="T22" fmla="*/ 95 w 224"/>
                <a:gd name="T23" fmla="*/ 285 h 292"/>
                <a:gd name="T24" fmla="*/ 81 w 224"/>
                <a:gd name="T25" fmla="*/ 290 h 292"/>
                <a:gd name="T26" fmla="*/ 64 w 224"/>
                <a:gd name="T27" fmla="*/ 292 h 292"/>
                <a:gd name="T28" fmla="*/ 48 w 224"/>
                <a:gd name="T29" fmla="*/ 290 h 292"/>
                <a:gd name="T30" fmla="*/ 33 w 224"/>
                <a:gd name="T31" fmla="*/ 284 h 292"/>
                <a:gd name="T32" fmla="*/ 18 w 224"/>
                <a:gd name="T33" fmla="*/ 274 h 292"/>
                <a:gd name="T34" fmla="*/ 8 w 224"/>
                <a:gd name="T35" fmla="*/ 261 h 292"/>
                <a:gd name="T36" fmla="*/ 2 w 224"/>
                <a:gd name="T37" fmla="*/ 246 h 292"/>
                <a:gd name="T38" fmla="*/ 0 w 224"/>
                <a:gd name="T39" fmla="*/ 230 h 292"/>
                <a:gd name="T40" fmla="*/ 2 w 224"/>
                <a:gd name="T41" fmla="*/ 213 h 292"/>
                <a:gd name="T42" fmla="*/ 8 w 224"/>
                <a:gd name="T43" fmla="*/ 198 h 292"/>
                <a:gd name="T44" fmla="*/ 105 w 224"/>
                <a:gd name="T45" fmla="*/ 32 h 292"/>
                <a:gd name="T46" fmla="*/ 115 w 224"/>
                <a:gd name="T47" fmla="*/ 19 h 292"/>
                <a:gd name="T48" fmla="*/ 129 w 224"/>
                <a:gd name="T49" fmla="*/ 8 h 292"/>
                <a:gd name="T50" fmla="*/ 144 w 224"/>
                <a:gd name="T51" fmla="*/ 2 h 292"/>
                <a:gd name="T52" fmla="*/ 159 w 224"/>
                <a:gd name="T5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4" h="292">
                  <a:moveTo>
                    <a:pt x="159" y="0"/>
                  </a:moveTo>
                  <a:lnTo>
                    <a:pt x="176" y="2"/>
                  </a:lnTo>
                  <a:lnTo>
                    <a:pt x="192" y="9"/>
                  </a:lnTo>
                  <a:lnTo>
                    <a:pt x="206" y="20"/>
                  </a:lnTo>
                  <a:lnTo>
                    <a:pt x="216" y="32"/>
                  </a:lnTo>
                  <a:lnTo>
                    <a:pt x="222" y="48"/>
                  </a:lnTo>
                  <a:lnTo>
                    <a:pt x="224" y="63"/>
                  </a:lnTo>
                  <a:lnTo>
                    <a:pt x="222" y="80"/>
                  </a:lnTo>
                  <a:lnTo>
                    <a:pt x="216" y="96"/>
                  </a:lnTo>
                  <a:lnTo>
                    <a:pt x="120" y="261"/>
                  </a:lnTo>
                  <a:lnTo>
                    <a:pt x="109" y="275"/>
                  </a:lnTo>
                  <a:lnTo>
                    <a:pt x="95" y="285"/>
                  </a:lnTo>
                  <a:lnTo>
                    <a:pt x="81" y="290"/>
                  </a:lnTo>
                  <a:lnTo>
                    <a:pt x="64" y="292"/>
                  </a:lnTo>
                  <a:lnTo>
                    <a:pt x="48" y="290"/>
                  </a:lnTo>
                  <a:lnTo>
                    <a:pt x="33" y="284"/>
                  </a:lnTo>
                  <a:lnTo>
                    <a:pt x="18" y="274"/>
                  </a:lnTo>
                  <a:lnTo>
                    <a:pt x="8" y="261"/>
                  </a:lnTo>
                  <a:lnTo>
                    <a:pt x="2" y="246"/>
                  </a:lnTo>
                  <a:lnTo>
                    <a:pt x="0" y="230"/>
                  </a:lnTo>
                  <a:lnTo>
                    <a:pt x="2" y="213"/>
                  </a:lnTo>
                  <a:lnTo>
                    <a:pt x="8" y="198"/>
                  </a:lnTo>
                  <a:lnTo>
                    <a:pt x="105" y="32"/>
                  </a:lnTo>
                  <a:lnTo>
                    <a:pt x="115" y="19"/>
                  </a:lnTo>
                  <a:lnTo>
                    <a:pt x="129" y="8"/>
                  </a:lnTo>
                  <a:lnTo>
                    <a:pt x="144" y="2"/>
                  </a:lnTo>
                  <a:lnTo>
                    <a:pt x="1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169"/>
            <p:cNvSpPr>
              <a:spLocks/>
            </p:cNvSpPr>
            <p:nvPr/>
          </p:nvSpPr>
          <p:spPr bwMode="auto">
            <a:xfrm>
              <a:off x="1119188" y="2732088"/>
              <a:ext cx="96838" cy="315913"/>
            </a:xfrm>
            <a:custGeom>
              <a:avLst/>
              <a:gdLst>
                <a:gd name="T0" fmla="*/ 154 w 308"/>
                <a:gd name="T1" fmla="*/ 0 h 992"/>
                <a:gd name="T2" fmla="*/ 185 w 308"/>
                <a:gd name="T3" fmla="*/ 2 h 992"/>
                <a:gd name="T4" fmla="*/ 213 w 308"/>
                <a:gd name="T5" fmla="*/ 7 h 992"/>
                <a:gd name="T6" fmla="*/ 238 w 308"/>
                <a:gd name="T7" fmla="*/ 17 h 992"/>
                <a:gd name="T8" fmla="*/ 259 w 308"/>
                <a:gd name="T9" fmla="*/ 30 h 992"/>
                <a:gd name="T10" fmla="*/ 277 w 308"/>
                <a:gd name="T11" fmla="*/ 47 h 992"/>
                <a:gd name="T12" fmla="*/ 290 w 308"/>
                <a:gd name="T13" fmla="*/ 67 h 992"/>
                <a:gd name="T14" fmla="*/ 301 w 308"/>
                <a:gd name="T15" fmla="*/ 91 h 992"/>
                <a:gd name="T16" fmla="*/ 306 w 308"/>
                <a:gd name="T17" fmla="*/ 119 h 992"/>
                <a:gd name="T18" fmla="*/ 308 w 308"/>
                <a:gd name="T19" fmla="*/ 150 h 992"/>
                <a:gd name="T20" fmla="*/ 308 w 308"/>
                <a:gd name="T21" fmla="*/ 375 h 992"/>
                <a:gd name="T22" fmla="*/ 307 w 308"/>
                <a:gd name="T23" fmla="*/ 405 h 992"/>
                <a:gd name="T24" fmla="*/ 304 w 308"/>
                <a:gd name="T25" fmla="*/ 435 h 992"/>
                <a:gd name="T26" fmla="*/ 301 w 308"/>
                <a:gd name="T27" fmla="*/ 467 h 992"/>
                <a:gd name="T28" fmla="*/ 240 w 308"/>
                <a:gd name="T29" fmla="*/ 920 h 992"/>
                <a:gd name="T30" fmla="*/ 236 w 308"/>
                <a:gd name="T31" fmla="*/ 942 h 992"/>
                <a:gd name="T32" fmla="*/ 228 w 308"/>
                <a:gd name="T33" fmla="*/ 960 h 992"/>
                <a:gd name="T34" fmla="*/ 219 w 308"/>
                <a:gd name="T35" fmla="*/ 972 h 992"/>
                <a:gd name="T36" fmla="*/ 206 w 308"/>
                <a:gd name="T37" fmla="*/ 982 h 992"/>
                <a:gd name="T38" fmla="*/ 192 w 308"/>
                <a:gd name="T39" fmla="*/ 988 h 992"/>
                <a:gd name="T40" fmla="*/ 174 w 308"/>
                <a:gd name="T41" fmla="*/ 991 h 992"/>
                <a:gd name="T42" fmla="*/ 154 w 308"/>
                <a:gd name="T43" fmla="*/ 992 h 992"/>
                <a:gd name="T44" fmla="*/ 134 w 308"/>
                <a:gd name="T45" fmla="*/ 991 h 992"/>
                <a:gd name="T46" fmla="*/ 116 w 308"/>
                <a:gd name="T47" fmla="*/ 988 h 992"/>
                <a:gd name="T48" fmla="*/ 102 w 308"/>
                <a:gd name="T49" fmla="*/ 982 h 992"/>
                <a:gd name="T50" fmla="*/ 89 w 308"/>
                <a:gd name="T51" fmla="*/ 972 h 992"/>
                <a:gd name="T52" fmla="*/ 79 w 308"/>
                <a:gd name="T53" fmla="*/ 960 h 992"/>
                <a:gd name="T54" fmla="*/ 72 w 308"/>
                <a:gd name="T55" fmla="*/ 942 h 992"/>
                <a:gd name="T56" fmla="*/ 68 w 308"/>
                <a:gd name="T57" fmla="*/ 920 h 992"/>
                <a:gd name="T58" fmla="*/ 7 w 308"/>
                <a:gd name="T59" fmla="*/ 467 h 992"/>
                <a:gd name="T60" fmla="*/ 4 w 308"/>
                <a:gd name="T61" fmla="*/ 435 h 992"/>
                <a:gd name="T62" fmla="*/ 1 w 308"/>
                <a:gd name="T63" fmla="*/ 405 h 992"/>
                <a:gd name="T64" fmla="*/ 0 w 308"/>
                <a:gd name="T65" fmla="*/ 375 h 992"/>
                <a:gd name="T66" fmla="*/ 0 w 308"/>
                <a:gd name="T67" fmla="*/ 150 h 992"/>
                <a:gd name="T68" fmla="*/ 2 w 308"/>
                <a:gd name="T69" fmla="*/ 119 h 992"/>
                <a:gd name="T70" fmla="*/ 7 w 308"/>
                <a:gd name="T71" fmla="*/ 91 h 992"/>
                <a:gd name="T72" fmla="*/ 18 w 308"/>
                <a:gd name="T73" fmla="*/ 67 h 992"/>
                <a:gd name="T74" fmla="*/ 31 w 308"/>
                <a:gd name="T75" fmla="*/ 47 h 992"/>
                <a:gd name="T76" fmla="*/ 49 w 308"/>
                <a:gd name="T77" fmla="*/ 30 h 992"/>
                <a:gd name="T78" fmla="*/ 70 w 308"/>
                <a:gd name="T79" fmla="*/ 17 h 992"/>
                <a:gd name="T80" fmla="*/ 95 w 308"/>
                <a:gd name="T81" fmla="*/ 7 h 992"/>
                <a:gd name="T82" fmla="*/ 122 w 308"/>
                <a:gd name="T83" fmla="*/ 2 h 992"/>
                <a:gd name="T84" fmla="*/ 154 w 308"/>
                <a:gd name="T85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8" h="992">
                  <a:moveTo>
                    <a:pt x="154" y="0"/>
                  </a:moveTo>
                  <a:lnTo>
                    <a:pt x="185" y="2"/>
                  </a:lnTo>
                  <a:lnTo>
                    <a:pt x="213" y="7"/>
                  </a:lnTo>
                  <a:lnTo>
                    <a:pt x="238" y="17"/>
                  </a:lnTo>
                  <a:lnTo>
                    <a:pt x="259" y="30"/>
                  </a:lnTo>
                  <a:lnTo>
                    <a:pt x="277" y="47"/>
                  </a:lnTo>
                  <a:lnTo>
                    <a:pt x="290" y="67"/>
                  </a:lnTo>
                  <a:lnTo>
                    <a:pt x="301" y="91"/>
                  </a:lnTo>
                  <a:lnTo>
                    <a:pt x="306" y="119"/>
                  </a:lnTo>
                  <a:lnTo>
                    <a:pt x="308" y="150"/>
                  </a:lnTo>
                  <a:lnTo>
                    <a:pt x="308" y="375"/>
                  </a:lnTo>
                  <a:lnTo>
                    <a:pt x="307" y="405"/>
                  </a:lnTo>
                  <a:lnTo>
                    <a:pt x="304" y="435"/>
                  </a:lnTo>
                  <a:lnTo>
                    <a:pt x="301" y="467"/>
                  </a:lnTo>
                  <a:lnTo>
                    <a:pt x="240" y="920"/>
                  </a:lnTo>
                  <a:lnTo>
                    <a:pt x="236" y="942"/>
                  </a:lnTo>
                  <a:lnTo>
                    <a:pt x="228" y="960"/>
                  </a:lnTo>
                  <a:lnTo>
                    <a:pt x="219" y="972"/>
                  </a:lnTo>
                  <a:lnTo>
                    <a:pt x="206" y="982"/>
                  </a:lnTo>
                  <a:lnTo>
                    <a:pt x="192" y="988"/>
                  </a:lnTo>
                  <a:lnTo>
                    <a:pt x="174" y="991"/>
                  </a:lnTo>
                  <a:lnTo>
                    <a:pt x="154" y="992"/>
                  </a:lnTo>
                  <a:lnTo>
                    <a:pt x="134" y="991"/>
                  </a:lnTo>
                  <a:lnTo>
                    <a:pt x="116" y="988"/>
                  </a:lnTo>
                  <a:lnTo>
                    <a:pt x="102" y="982"/>
                  </a:lnTo>
                  <a:lnTo>
                    <a:pt x="89" y="972"/>
                  </a:lnTo>
                  <a:lnTo>
                    <a:pt x="79" y="960"/>
                  </a:lnTo>
                  <a:lnTo>
                    <a:pt x="72" y="942"/>
                  </a:lnTo>
                  <a:lnTo>
                    <a:pt x="68" y="920"/>
                  </a:lnTo>
                  <a:lnTo>
                    <a:pt x="7" y="467"/>
                  </a:lnTo>
                  <a:lnTo>
                    <a:pt x="4" y="435"/>
                  </a:lnTo>
                  <a:lnTo>
                    <a:pt x="1" y="405"/>
                  </a:lnTo>
                  <a:lnTo>
                    <a:pt x="0" y="375"/>
                  </a:lnTo>
                  <a:lnTo>
                    <a:pt x="0" y="150"/>
                  </a:lnTo>
                  <a:lnTo>
                    <a:pt x="2" y="119"/>
                  </a:lnTo>
                  <a:lnTo>
                    <a:pt x="7" y="91"/>
                  </a:lnTo>
                  <a:lnTo>
                    <a:pt x="18" y="67"/>
                  </a:lnTo>
                  <a:lnTo>
                    <a:pt x="31" y="47"/>
                  </a:lnTo>
                  <a:lnTo>
                    <a:pt x="49" y="30"/>
                  </a:lnTo>
                  <a:lnTo>
                    <a:pt x="70" y="17"/>
                  </a:lnTo>
                  <a:lnTo>
                    <a:pt x="95" y="7"/>
                  </a:lnTo>
                  <a:lnTo>
                    <a:pt x="122" y="2"/>
                  </a:lnTo>
                  <a:lnTo>
                    <a:pt x="1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170"/>
            <p:cNvSpPr>
              <a:spLocks/>
            </p:cNvSpPr>
            <p:nvPr/>
          </p:nvSpPr>
          <p:spPr bwMode="auto">
            <a:xfrm>
              <a:off x="1116013" y="3087688"/>
              <a:ext cx="103188" cy="101600"/>
            </a:xfrm>
            <a:custGeom>
              <a:avLst/>
              <a:gdLst>
                <a:gd name="T0" fmla="*/ 161 w 321"/>
                <a:gd name="T1" fmla="*/ 0 h 319"/>
                <a:gd name="T2" fmla="*/ 193 w 321"/>
                <a:gd name="T3" fmla="*/ 4 h 319"/>
                <a:gd name="T4" fmla="*/ 223 w 321"/>
                <a:gd name="T5" fmla="*/ 14 h 319"/>
                <a:gd name="T6" fmla="*/ 250 w 321"/>
                <a:gd name="T7" fmla="*/ 28 h 319"/>
                <a:gd name="T8" fmla="*/ 274 w 321"/>
                <a:gd name="T9" fmla="*/ 47 h 319"/>
                <a:gd name="T10" fmla="*/ 294 w 321"/>
                <a:gd name="T11" fmla="*/ 71 h 319"/>
                <a:gd name="T12" fmla="*/ 309 w 321"/>
                <a:gd name="T13" fmla="*/ 98 h 319"/>
                <a:gd name="T14" fmla="*/ 318 w 321"/>
                <a:gd name="T15" fmla="*/ 128 h 319"/>
                <a:gd name="T16" fmla="*/ 321 w 321"/>
                <a:gd name="T17" fmla="*/ 159 h 319"/>
                <a:gd name="T18" fmla="*/ 318 w 321"/>
                <a:gd name="T19" fmla="*/ 192 h 319"/>
                <a:gd name="T20" fmla="*/ 309 w 321"/>
                <a:gd name="T21" fmla="*/ 222 h 319"/>
                <a:gd name="T22" fmla="*/ 294 w 321"/>
                <a:gd name="T23" fmla="*/ 249 h 319"/>
                <a:gd name="T24" fmla="*/ 274 w 321"/>
                <a:gd name="T25" fmla="*/ 272 h 319"/>
                <a:gd name="T26" fmla="*/ 250 w 321"/>
                <a:gd name="T27" fmla="*/ 292 h 319"/>
                <a:gd name="T28" fmla="*/ 223 w 321"/>
                <a:gd name="T29" fmla="*/ 306 h 319"/>
                <a:gd name="T30" fmla="*/ 193 w 321"/>
                <a:gd name="T31" fmla="*/ 316 h 319"/>
                <a:gd name="T32" fmla="*/ 161 w 321"/>
                <a:gd name="T33" fmla="*/ 319 h 319"/>
                <a:gd name="T34" fmla="*/ 128 w 321"/>
                <a:gd name="T35" fmla="*/ 316 h 319"/>
                <a:gd name="T36" fmla="*/ 99 w 321"/>
                <a:gd name="T37" fmla="*/ 306 h 319"/>
                <a:gd name="T38" fmla="*/ 72 w 321"/>
                <a:gd name="T39" fmla="*/ 292 h 319"/>
                <a:gd name="T40" fmla="*/ 48 w 321"/>
                <a:gd name="T41" fmla="*/ 272 h 319"/>
                <a:gd name="T42" fmla="*/ 28 w 321"/>
                <a:gd name="T43" fmla="*/ 249 h 319"/>
                <a:gd name="T44" fmla="*/ 13 w 321"/>
                <a:gd name="T45" fmla="*/ 222 h 319"/>
                <a:gd name="T46" fmla="*/ 4 w 321"/>
                <a:gd name="T47" fmla="*/ 192 h 319"/>
                <a:gd name="T48" fmla="*/ 0 w 321"/>
                <a:gd name="T49" fmla="*/ 159 h 319"/>
                <a:gd name="T50" fmla="*/ 4 w 321"/>
                <a:gd name="T51" fmla="*/ 128 h 319"/>
                <a:gd name="T52" fmla="*/ 13 w 321"/>
                <a:gd name="T53" fmla="*/ 98 h 319"/>
                <a:gd name="T54" fmla="*/ 28 w 321"/>
                <a:gd name="T55" fmla="*/ 71 h 319"/>
                <a:gd name="T56" fmla="*/ 48 w 321"/>
                <a:gd name="T57" fmla="*/ 47 h 319"/>
                <a:gd name="T58" fmla="*/ 72 w 321"/>
                <a:gd name="T59" fmla="*/ 28 h 319"/>
                <a:gd name="T60" fmla="*/ 99 w 321"/>
                <a:gd name="T61" fmla="*/ 14 h 319"/>
                <a:gd name="T62" fmla="*/ 128 w 321"/>
                <a:gd name="T63" fmla="*/ 4 h 319"/>
                <a:gd name="T64" fmla="*/ 161 w 321"/>
                <a:gd name="T65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1" h="319">
                  <a:moveTo>
                    <a:pt x="161" y="0"/>
                  </a:moveTo>
                  <a:lnTo>
                    <a:pt x="193" y="4"/>
                  </a:lnTo>
                  <a:lnTo>
                    <a:pt x="223" y="14"/>
                  </a:lnTo>
                  <a:lnTo>
                    <a:pt x="250" y="28"/>
                  </a:lnTo>
                  <a:lnTo>
                    <a:pt x="274" y="47"/>
                  </a:lnTo>
                  <a:lnTo>
                    <a:pt x="294" y="71"/>
                  </a:lnTo>
                  <a:lnTo>
                    <a:pt x="309" y="98"/>
                  </a:lnTo>
                  <a:lnTo>
                    <a:pt x="318" y="128"/>
                  </a:lnTo>
                  <a:lnTo>
                    <a:pt x="321" y="159"/>
                  </a:lnTo>
                  <a:lnTo>
                    <a:pt x="318" y="192"/>
                  </a:lnTo>
                  <a:lnTo>
                    <a:pt x="309" y="222"/>
                  </a:lnTo>
                  <a:lnTo>
                    <a:pt x="294" y="249"/>
                  </a:lnTo>
                  <a:lnTo>
                    <a:pt x="274" y="272"/>
                  </a:lnTo>
                  <a:lnTo>
                    <a:pt x="250" y="292"/>
                  </a:lnTo>
                  <a:lnTo>
                    <a:pt x="223" y="306"/>
                  </a:lnTo>
                  <a:lnTo>
                    <a:pt x="193" y="316"/>
                  </a:lnTo>
                  <a:lnTo>
                    <a:pt x="161" y="319"/>
                  </a:lnTo>
                  <a:lnTo>
                    <a:pt x="128" y="316"/>
                  </a:lnTo>
                  <a:lnTo>
                    <a:pt x="99" y="306"/>
                  </a:lnTo>
                  <a:lnTo>
                    <a:pt x="72" y="292"/>
                  </a:lnTo>
                  <a:lnTo>
                    <a:pt x="48" y="272"/>
                  </a:lnTo>
                  <a:lnTo>
                    <a:pt x="28" y="249"/>
                  </a:lnTo>
                  <a:lnTo>
                    <a:pt x="13" y="222"/>
                  </a:lnTo>
                  <a:lnTo>
                    <a:pt x="4" y="192"/>
                  </a:lnTo>
                  <a:lnTo>
                    <a:pt x="0" y="159"/>
                  </a:lnTo>
                  <a:lnTo>
                    <a:pt x="4" y="128"/>
                  </a:lnTo>
                  <a:lnTo>
                    <a:pt x="13" y="98"/>
                  </a:lnTo>
                  <a:lnTo>
                    <a:pt x="28" y="71"/>
                  </a:lnTo>
                  <a:lnTo>
                    <a:pt x="48" y="47"/>
                  </a:lnTo>
                  <a:lnTo>
                    <a:pt x="72" y="28"/>
                  </a:lnTo>
                  <a:lnTo>
                    <a:pt x="99" y="14"/>
                  </a:lnTo>
                  <a:lnTo>
                    <a:pt x="128" y="4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987"/>
              <a:endPara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Oval 12"/>
          <p:cNvSpPr/>
          <p:nvPr/>
        </p:nvSpPr>
        <p:spPr>
          <a:xfrm>
            <a:off x="6029937" y="2864251"/>
            <a:ext cx="2114607" cy="228721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 defTabSz="1218987"/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eform 5"/>
          <p:cNvSpPr>
            <a:spLocks/>
          </p:cNvSpPr>
          <p:nvPr/>
        </p:nvSpPr>
        <p:spPr bwMode="auto">
          <a:xfrm>
            <a:off x="6167847" y="3300903"/>
            <a:ext cx="1838790" cy="1696051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 defTabSz="1218987"/>
            <a:endParaRPr lang="en-US" sz="1600" i="1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49929" y="4647946"/>
            <a:ext cx="2157110" cy="2154659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 defTabSz="1218987"/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auto">
          <a:xfrm>
            <a:off x="3490611" y="5067471"/>
            <a:ext cx="1875749" cy="1597755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 defTabSz="1218987"/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721431" y="2880310"/>
            <a:ext cx="2151449" cy="225509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1"/>
          <a:lstStyle/>
          <a:p>
            <a:pPr algn="ctr" defTabSz="1218987"/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Freeform 5"/>
          <p:cNvSpPr>
            <a:spLocks/>
          </p:cNvSpPr>
          <p:nvPr/>
        </p:nvSpPr>
        <p:spPr bwMode="auto">
          <a:xfrm>
            <a:off x="861743" y="3312810"/>
            <a:ext cx="1870825" cy="1672231"/>
          </a:xfrm>
          <a:custGeom>
            <a:avLst/>
            <a:gdLst>
              <a:gd name="T0" fmla="*/ 1816 w 2128"/>
              <a:gd name="T1" fmla="*/ 0 h 1816"/>
              <a:gd name="T2" fmla="*/ 1532 w 2128"/>
              <a:gd name="T3" fmla="*/ 520 h 1816"/>
              <a:gd name="T4" fmla="*/ 596 w 2128"/>
              <a:gd name="T5" fmla="*/ 520 h 1816"/>
              <a:gd name="T6" fmla="*/ 312 w 2128"/>
              <a:gd name="T7" fmla="*/ 0 h 1816"/>
              <a:gd name="T8" fmla="*/ 0 w 2128"/>
              <a:gd name="T9" fmla="*/ 752 h 1816"/>
              <a:gd name="T10" fmla="*/ 1064 w 2128"/>
              <a:gd name="T11" fmla="*/ 1816 h 1816"/>
              <a:gd name="T12" fmla="*/ 2128 w 2128"/>
              <a:gd name="T13" fmla="*/ 752 h 1816"/>
              <a:gd name="T14" fmla="*/ 1816 w 2128"/>
              <a:gd name="T15" fmla="*/ 0 h 1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28" h="1816">
                <a:moveTo>
                  <a:pt x="1816" y="0"/>
                </a:moveTo>
                <a:cubicBezTo>
                  <a:pt x="1532" y="520"/>
                  <a:pt x="1532" y="520"/>
                  <a:pt x="1532" y="520"/>
                </a:cubicBezTo>
                <a:cubicBezTo>
                  <a:pt x="596" y="520"/>
                  <a:pt x="596" y="520"/>
                  <a:pt x="596" y="520"/>
                </a:cubicBezTo>
                <a:cubicBezTo>
                  <a:pt x="312" y="0"/>
                  <a:pt x="312" y="0"/>
                  <a:pt x="312" y="0"/>
                </a:cubicBezTo>
                <a:cubicBezTo>
                  <a:pt x="119" y="192"/>
                  <a:pt x="0" y="458"/>
                  <a:pt x="0" y="752"/>
                </a:cubicBezTo>
                <a:cubicBezTo>
                  <a:pt x="0" y="1340"/>
                  <a:pt x="476" y="1816"/>
                  <a:pt x="1064" y="1816"/>
                </a:cubicBezTo>
                <a:cubicBezTo>
                  <a:pt x="1652" y="1816"/>
                  <a:pt x="2128" y="1340"/>
                  <a:pt x="2128" y="752"/>
                </a:cubicBezTo>
                <a:cubicBezTo>
                  <a:pt x="2128" y="458"/>
                  <a:pt x="2009" y="192"/>
                  <a:pt x="1816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0" rIns="91440" bIns="45720" numCol="1" anchor="ctr" anchorCtr="1" compatLnSpc="1">
            <a:prstTxWarp prst="textNoShape">
              <a:avLst/>
            </a:prstTxWarp>
          </a:bodyPr>
          <a:lstStyle/>
          <a:p>
            <a:pPr algn="ctr" defTabSz="1218987"/>
            <a:endParaRPr lang="en-US" sz="1600" dirty="0">
              <a:solidFill>
                <a:srgbClr val="000000">
                  <a:lumMod val="75000"/>
                  <a:lumOff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Freeform 193"/>
          <p:cNvSpPr>
            <a:spLocks noEditPoints="1"/>
          </p:cNvSpPr>
          <p:nvPr/>
        </p:nvSpPr>
        <p:spPr bwMode="auto">
          <a:xfrm>
            <a:off x="4253915" y="4770435"/>
            <a:ext cx="445409" cy="675172"/>
          </a:xfrm>
          <a:custGeom>
            <a:avLst/>
            <a:gdLst>
              <a:gd name="T0" fmla="*/ 1982 w 2908"/>
              <a:gd name="T1" fmla="*/ 2871 h 3576"/>
              <a:gd name="T2" fmla="*/ 1840 w 2908"/>
              <a:gd name="T3" fmla="*/ 2941 h 3576"/>
              <a:gd name="T4" fmla="*/ 2172 w 2908"/>
              <a:gd name="T5" fmla="*/ 3267 h 3576"/>
              <a:gd name="T6" fmla="*/ 2700 w 2908"/>
              <a:gd name="T7" fmla="*/ 2735 h 3576"/>
              <a:gd name="T8" fmla="*/ 2607 w 2908"/>
              <a:gd name="T9" fmla="*/ 2605 h 3576"/>
              <a:gd name="T10" fmla="*/ 1479 w 2908"/>
              <a:gd name="T11" fmla="*/ 2605 h 3576"/>
              <a:gd name="T12" fmla="*/ 939 w 2908"/>
              <a:gd name="T13" fmla="*/ 2646 h 3576"/>
              <a:gd name="T14" fmla="*/ 953 w 2908"/>
              <a:gd name="T15" fmla="*/ 2505 h 3576"/>
              <a:gd name="T16" fmla="*/ 829 w 2908"/>
              <a:gd name="T17" fmla="*/ 2453 h 3576"/>
              <a:gd name="T18" fmla="*/ 451 w 2908"/>
              <a:gd name="T19" fmla="*/ 2589 h 3576"/>
              <a:gd name="T20" fmla="*/ 483 w 2908"/>
              <a:gd name="T21" fmla="*/ 2505 h 3576"/>
              <a:gd name="T22" fmla="*/ 2245 w 2908"/>
              <a:gd name="T23" fmla="*/ 2247 h 3576"/>
              <a:gd name="T24" fmla="*/ 2714 w 2908"/>
              <a:gd name="T25" fmla="*/ 2443 h 3576"/>
              <a:gd name="T26" fmla="*/ 2908 w 2908"/>
              <a:gd name="T27" fmla="*/ 2912 h 3576"/>
              <a:gd name="T28" fmla="*/ 2714 w 2908"/>
              <a:gd name="T29" fmla="*/ 3381 h 3576"/>
              <a:gd name="T30" fmla="*/ 2245 w 2908"/>
              <a:gd name="T31" fmla="*/ 3576 h 3576"/>
              <a:gd name="T32" fmla="*/ 1776 w 2908"/>
              <a:gd name="T33" fmla="*/ 3381 h 3576"/>
              <a:gd name="T34" fmla="*/ 1582 w 2908"/>
              <a:gd name="T35" fmla="*/ 2912 h 3576"/>
              <a:gd name="T36" fmla="*/ 1776 w 2908"/>
              <a:gd name="T37" fmla="*/ 2443 h 3576"/>
              <a:gd name="T38" fmla="*/ 2245 w 2908"/>
              <a:gd name="T39" fmla="*/ 2247 h 3576"/>
              <a:gd name="T40" fmla="*/ 1582 w 2908"/>
              <a:gd name="T41" fmla="*/ 2146 h 3576"/>
              <a:gd name="T42" fmla="*/ 939 w 2908"/>
              <a:gd name="T43" fmla="*/ 2187 h 3576"/>
              <a:gd name="T44" fmla="*/ 953 w 2908"/>
              <a:gd name="T45" fmla="*/ 2046 h 3576"/>
              <a:gd name="T46" fmla="*/ 829 w 2908"/>
              <a:gd name="T47" fmla="*/ 2016 h 3576"/>
              <a:gd name="T48" fmla="*/ 451 w 2908"/>
              <a:gd name="T49" fmla="*/ 2151 h 3576"/>
              <a:gd name="T50" fmla="*/ 483 w 2908"/>
              <a:gd name="T51" fmla="*/ 2068 h 3576"/>
              <a:gd name="T52" fmla="*/ 970 w 2908"/>
              <a:gd name="T53" fmla="*/ 1635 h 3576"/>
              <a:gd name="T54" fmla="*/ 1834 w 2908"/>
              <a:gd name="T55" fmla="*/ 1753 h 3576"/>
              <a:gd name="T56" fmla="*/ 928 w 2908"/>
              <a:gd name="T57" fmla="*/ 1767 h 3576"/>
              <a:gd name="T58" fmla="*/ 970 w 2908"/>
              <a:gd name="T59" fmla="*/ 1635 h 3576"/>
              <a:gd name="T60" fmla="*/ 821 w 2908"/>
              <a:gd name="T61" fmla="*/ 1594 h 3576"/>
              <a:gd name="T62" fmla="*/ 441 w 2908"/>
              <a:gd name="T63" fmla="*/ 1706 h 3576"/>
              <a:gd name="T64" fmla="*/ 497 w 2908"/>
              <a:gd name="T65" fmla="*/ 1636 h 3576"/>
              <a:gd name="T66" fmla="*/ 1785 w 2908"/>
              <a:gd name="T67" fmla="*/ 1175 h 3576"/>
              <a:gd name="T68" fmla="*/ 1827 w 2908"/>
              <a:gd name="T69" fmla="*/ 1307 h 3576"/>
              <a:gd name="T70" fmla="*/ 921 w 2908"/>
              <a:gd name="T71" fmla="*/ 1293 h 3576"/>
              <a:gd name="T72" fmla="*/ 790 w 2908"/>
              <a:gd name="T73" fmla="*/ 1061 h 3576"/>
              <a:gd name="T74" fmla="*/ 633 w 2908"/>
              <a:gd name="T75" fmla="*/ 1351 h 3576"/>
              <a:gd name="T76" fmla="*/ 435 w 2908"/>
              <a:gd name="T77" fmla="*/ 1238 h 3576"/>
              <a:gd name="T78" fmla="*/ 510 w 2908"/>
              <a:gd name="T79" fmla="*/ 1189 h 3576"/>
              <a:gd name="T80" fmla="*/ 563 w 2908"/>
              <a:gd name="T81" fmla="*/ 384 h 3576"/>
              <a:gd name="T82" fmla="*/ 699 w 2908"/>
              <a:gd name="T83" fmla="*/ 636 h 3576"/>
              <a:gd name="T84" fmla="*/ 1631 w 2908"/>
              <a:gd name="T85" fmla="*/ 614 h 3576"/>
              <a:gd name="T86" fmla="*/ 1729 w 2908"/>
              <a:gd name="T87" fmla="*/ 358 h 3576"/>
              <a:gd name="T88" fmla="*/ 2260 w 2908"/>
              <a:gd name="T89" fmla="*/ 451 h 3576"/>
              <a:gd name="T90" fmla="*/ 2175 w 2908"/>
              <a:gd name="T91" fmla="*/ 2098 h 3576"/>
              <a:gd name="T92" fmla="*/ 1450 w 2908"/>
              <a:gd name="T93" fmla="*/ 3095 h 3576"/>
              <a:gd name="T94" fmla="*/ 49 w 2908"/>
              <a:gd name="T95" fmla="*/ 3146 h 3576"/>
              <a:gd name="T96" fmla="*/ 22 w 2908"/>
              <a:gd name="T97" fmla="*/ 468 h 3576"/>
              <a:gd name="T98" fmla="*/ 1148 w 2908"/>
              <a:gd name="T99" fmla="*/ 102 h 3576"/>
              <a:gd name="T100" fmla="*/ 1082 w 2908"/>
              <a:gd name="T101" fmla="*/ 218 h 3576"/>
              <a:gd name="T102" fmla="*/ 1214 w 2908"/>
              <a:gd name="T103" fmla="*/ 218 h 3576"/>
              <a:gd name="T104" fmla="*/ 1148 w 2908"/>
              <a:gd name="T105" fmla="*/ 102 h 3576"/>
              <a:gd name="T106" fmla="*/ 1303 w 2908"/>
              <a:gd name="T107" fmla="*/ 88 h 3576"/>
              <a:gd name="T108" fmla="*/ 1364 w 2908"/>
              <a:gd name="T109" fmla="*/ 245 h 3576"/>
              <a:gd name="T110" fmla="*/ 1607 w 2908"/>
              <a:gd name="T111" fmla="*/ 322 h 3576"/>
              <a:gd name="T112" fmla="*/ 1588 w 2908"/>
              <a:gd name="T113" fmla="*/ 518 h 3576"/>
              <a:gd name="T114" fmla="*/ 730 w 2908"/>
              <a:gd name="T115" fmla="*/ 536 h 3576"/>
              <a:gd name="T116" fmla="*/ 675 w 2908"/>
              <a:gd name="T117" fmla="*/ 348 h 3576"/>
              <a:gd name="T118" fmla="*/ 913 w 2908"/>
              <a:gd name="T119" fmla="*/ 252 h 3576"/>
              <a:gd name="T120" fmla="*/ 980 w 2908"/>
              <a:gd name="T121" fmla="*/ 115 h 3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908" h="3576">
                <a:moveTo>
                  <a:pt x="2607" y="2605"/>
                </a:moveTo>
                <a:lnTo>
                  <a:pt x="2585" y="2607"/>
                </a:lnTo>
                <a:lnTo>
                  <a:pt x="2563" y="2613"/>
                </a:lnTo>
                <a:lnTo>
                  <a:pt x="2543" y="2623"/>
                </a:lnTo>
                <a:lnTo>
                  <a:pt x="2526" y="2640"/>
                </a:lnTo>
                <a:lnTo>
                  <a:pt x="2181" y="3027"/>
                </a:lnTo>
                <a:lnTo>
                  <a:pt x="2003" y="2884"/>
                </a:lnTo>
                <a:lnTo>
                  <a:pt x="1982" y="2871"/>
                </a:lnTo>
                <a:lnTo>
                  <a:pt x="1961" y="2863"/>
                </a:lnTo>
                <a:lnTo>
                  <a:pt x="1939" y="2861"/>
                </a:lnTo>
                <a:lnTo>
                  <a:pt x="1916" y="2863"/>
                </a:lnTo>
                <a:lnTo>
                  <a:pt x="1895" y="2871"/>
                </a:lnTo>
                <a:lnTo>
                  <a:pt x="1875" y="2882"/>
                </a:lnTo>
                <a:lnTo>
                  <a:pt x="1859" y="2899"/>
                </a:lnTo>
                <a:lnTo>
                  <a:pt x="1846" y="2919"/>
                </a:lnTo>
                <a:lnTo>
                  <a:pt x="1840" y="2941"/>
                </a:lnTo>
                <a:lnTo>
                  <a:pt x="1836" y="2963"/>
                </a:lnTo>
                <a:lnTo>
                  <a:pt x="1840" y="2985"/>
                </a:lnTo>
                <a:lnTo>
                  <a:pt x="1846" y="3007"/>
                </a:lnTo>
                <a:lnTo>
                  <a:pt x="1858" y="3026"/>
                </a:lnTo>
                <a:lnTo>
                  <a:pt x="1875" y="3043"/>
                </a:lnTo>
                <a:lnTo>
                  <a:pt x="2130" y="3247"/>
                </a:lnTo>
                <a:lnTo>
                  <a:pt x="2150" y="3260"/>
                </a:lnTo>
                <a:lnTo>
                  <a:pt x="2172" y="3267"/>
                </a:lnTo>
                <a:lnTo>
                  <a:pt x="2193" y="3269"/>
                </a:lnTo>
                <a:lnTo>
                  <a:pt x="2215" y="3267"/>
                </a:lnTo>
                <a:lnTo>
                  <a:pt x="2235" y="3261"/>
                </a:lnTo>
                <a:lnTo>
                  <a:pt x="2254" y="3250"/>
                </a:lnTo>
                <a:lnTo>
                  <a:pt x="2270" y="3236"/>
                </a:lnTo>
                <a:lnTo>
                  <a:pt x="2678" y="2775"/>
                </a:lnTo>
                <a:lnTo>
                  <a:pt x="2691" y="2756"/>
                </a:lnTo>
                <a:lnTo>
                  <a:pt x="2700" y="2735"/>
                </a:lnTo>
                <a:lnTo>
                  <a:pt x="2704" y="2712"/>
                </a:lnTo>
                <a:lnTo>
                  <a:pt x="2702" y="2691"/>
                </a:lnTo>
                <a:lnTo>
                  <a:pt x="2697" y="2669"/>
                </a:lnTo>
                <a:lnTo>
                  <a:pt x="2686" y="2648"/>
                </a:lnTo>
                <a:lnTo>
                  <a:pt x="2670" y="2631"/>
                </a:lnTo>
                <a:lnTo>
                  <a:pt x="2650" y="2618"/>
                </a:lnTo>
                <a:lnTo>
                  <a:pt x="2629" y="2609"/>
                </a:lnTo>
                <a:lnTo>
                  <a:pt x="2607" y="2605"/>
                </a:lnTo>
                <a:close/>
                <a:moveTo>
                  <a:pt x="970" y="2503"/>
                </a:moveTo>
                <a:lnTo>
                  <a:pt x="1428" y="2503"/>
                </a:lnTo>
                <a:lnTo>
                  <a:pt x="1445" y="2505"/>
                </a:lnTo>
                <a:lnTo>
                  <a:pt x="1459" y="2513"/>
                </a:lnTo>
                <a:lnTo>
                  <a:pt x="1469" y="2524"/>
                </a:lnTo>
                <a:lnTo>
                  <a:pt x="1477" y="2538"/>
                </a:lnTo>
                <a:lnTo>
                  <a:pt x="1479" y="2554"/>
                </a:lnTo>
                <a:lnTo>
                  <a:pt x="1479" y="2605"/>
                </a:lnTo>
                <a:lnTo>
                  <a:pt x="1477" y="2621"/>
                </a:lnTo>
                <a:lnTo>
                  <a:pt x="1469" y="2635"/>
                </a:lnTo>
                <a:lnTo>
                  <a:pt x="1459" y="2646"/>
                </a:lnTo>
                <a:lnTo>
                  <a:pt x="1445" y="2654"/>
                </a:lnTo>
                <a:lnTo>
                  <a:pt x="1428" y="2656"/>
                </a:lnTo>
                <a:lnTo>
                  <a:pt x="970" y="2656"/>
                </a:lnTo>
                <a:lnTo>
                  <a:pt x="953" y="2654"/>
                </a:lnTo>
                <a:lnTo>
                  <a:pt x="939" y="2646"/>
                </a:lnTo>
                <a:lnTo>
                  <a:pt x="928" y="2635"/>
                </a:lnTo>
                <a:lnTo>
                  <a:pt x="921" y="2621"/>
                </a:lnTo>
                <a:lnTo>
                  <a:pt x="919" y="2605"/>
                </a:lnTo>
                <a:lnTo>
                  <a:pt x="919" y="2554"/>
                </a:lnTo>
                <a:lnTo>
                  <a:pt x="921" y="2538"/>
                </a:lnTo>
                <a:lnTo>
                  <a:pt x="928" y="2524"/>
                </a:lnTo>
                <a:lnTo>
                  <a:pt x="939" y="2513"/>
                </a:lnTo>
                <a:lnTo>
                  <a:pt x="953" y="2505"/>
                </a:lnTo>
                <a:lnTo>
                  <a:pt x="970" y="2503"/>
                </a:lnTo>
                <a:close/>
                <a:moveTo>
                  <a:pt x="790" y="2388"/>
                </a:moveTo>
                <a:lnTo>
                  <a:pt x="804" y="2392"/>
                </a:lnTo>
                <a:lnTo>
                  <a:pt x="817" y="2400"/>
                </a:lnTo>
                <a:lnTo>
                  <a:pt x="827" y="2411"/>
                </a:lnTo>
                <a:lnTo>
                  <a:pt x="832" y="2425"/>
                </a:lnTo>
                <a:lnTo>
                  <a:pt x="832" y="2439"/>
                </a:lnTo>
                <a:lnTo>
                  <a:pt x="829" y="2453"/>
                </a:lnTo>
                <a:lnTo>
                  <a:pt x="821" y="2466"/>
                </a:lnTo>
                <a:lnTo>
                  <a:pt x="633" y="2678"/>
                </a:lnTo>
                <a:lnTo>
                  <a:pt x="622" y="2686"/>
                </a:lnTo>
                <a:lnTo>
                  <a:pt x="610" y="2692"/>
                </a:lnTo>
                <a:lnTo>
                  <a:pt x="597" y="2694"/>
                </a:lnTo>
                <a:lnTo>
                  <a:pt x="582" y="2691"/>
                </a:lnTo>
                <a:lnTo>
                  <a:pt x="568" y="2683"/>
                </a:lnTo>
                <a:lnTo>
                  <a:pt x="451" y="2589"/>
                </a:lnTo>
                <a:lnTo>
                  <a:pt x="441" y="2578"/>
                </a:lnTo>
                <a:lnTo>
                  <a:pt x="435" y="2565"/>
                </a:lnTo>
                <a:lnTo>
                  <a:pt x="434" y="2551"/>
                </a:lnTo>
                <a:lnTo>
                  <a:pt x="436" y="2537"/>
                </a:lnTo>
                <a:lnTo>
                  <a:pt x="444" y="2523"/>
                </a:lnTo>
                <a:lnTo>
                  <a:pt x="454" y="2513"/>
                </a:lnTo>
                <a:lnTo>
                  <a:pt x="468" y="2508"/>
                </a:lnTo>
                <a:lnTo>
                  <a:pt x="483" y="2505"/>
                </a:lnTo>
                <a:lnTo>
                  <a:pt x="497" y="2509"/>
                </a:lnTo>
                <a:lnTo>
                  <a:pt x="510" y="2516"/>
                </a:lnTo>
                <a:lnTo>
                  <a:pt x="592" y="2582"/>
                </a:lnTo>
                <a:lnTo>
                  <a:pt x="751" y="2404"/>
                </a:lnTo>
                <a:lnTo>
                  <a:pt x="762" y="2394"/>
                </a:lnTo>
                <a:lnTo>
                  <a:pt x="776" y="2389"/>
                </a:lnTo>
                <a:lnTo>
                  <a:pt x="790" y="2388"/>
                </a:lnTo>
                <a:close/>
                <a:moveTo>
                  <a:pt x="2245" y="2247"/>
                </a:moveTo>
                <a:lnTo>
                  <a:pt x="2312" y="2251"/>
                </a:lnTo>
                <a:lnTo>
                  <a:pt x="2378" y="2262"/>
                </a:lnTo>
                <a:lnTo>
                  <a:pt x="2442" y="2278"/>
                </a:lnTo>
                <a:lnTo>
                  <a:pt x="2503" y="2299"/>
                </a:lnTo>
                <a:lnTo>
                  <a:pt x="2561" y="2328"/>
                </a:lnTo>
                <a:lnTo>
                  <a:pt x="2615" y="2361"/>
                </a:lnTo>
                <a:lnTo>
                  <a:pt x="2666" y="2399"/>
                </a:lnTo>
                <a:lnTo>
                  <a:pt x="2714" y="2443"/>
                </a:lnTo>
                <a:lnTo>
                  <a:pt x="2756" y="2489"/>
                </a:lnTo>
                <a:lnTo>
                  <a:pt x="2795" y="2540"/>
                </a:lnTo>
                <a:lnTo>
                  <a:pt x="2828" y="2595"/>
                </a:lnTo>
                <a:lnTo>
                  <a:pt x="2856" y="2654"/>
                </a:lnTo>
                <a:lnTo>
                  <a:pt x="2878" y="2715"/>
                </a:lnTo>
                <a:lnTo>
                  <a:pt x="2895" y="2778"/>
                </a:lnTo>
                <a:lnTo>
                  <a:pt x="2904" y="2843"/>
                </a:lnTo>
                <a:lnTo>
                  <a:pt x="2908" y="2912"/>
                </a:lnTo>
                <a:lnTo>
                  <a:pt x="2904" y="2980"/>
                </a:lnTo>
                <a:lnTo>
                  <a:pt x="2895" y="3046"/>
                </a:lnTo>
                <a:lnTo>
                  <a:pt x="2878" y="3109"/>
                </a:lnTo>
                <a:lnTo>
                  <a:pt x="2856" y="3171"/>
                </a:lnTo>
                <a:lnTo>
                  <a:pt x="2828" y="3228"/>
                </a:lnTo>
                <a:lnTo>
                  <a:pt x="2795" y="3283"/>
                </a:lnTo>
                <a:lnTo>
                  <a:pt x="2756" y="3334"/>
                </a:lnTo>
                <a:lnTo>
                  <a:pt x="2714" y="3381"/>
                </a:lnTo>
                <a:lnTo>
                  <a:pt x="2666" y="3424"/>
                </a:lnTo>
                <a:lnTo>
                  <a:pt x="2615" y="3462"/>
                </a:lnTo>
                <a:lnTo>
                  <a:pt x="2561" y="3496"/>
                </a:lnTo>
                <a:lnTo>
                  <a:pt x="2503" y="3524"/>
                </a:lnTo>
                <a:lnTo>
                  <a:pt x="2442" y="3546"/>
                </a:lnTo>
                <a:lnTo>
                  <a:pt x="2378" y="3563"/>
                </a:lnTo>
                <a:lnTo>
                  <a:pt x="2312" y="3573"/>
                </a:lnTo>
                <a:lnTo>
                  <a:pt x="2245" y="3576"/>
                </a:lnTo>
                <a:lnTo>
                  <a:pt x="2177" y="3573"/>
                </a:lnTo>
                <a:lnTo>
                  <a:pt x="2111" y="3563"/>
                </a:lnTo>
                <a:lnTo>
                  <a:pt x="2047" y="3546"/>
                </a:lnTo>
                <a:lnTo>
                  <a:pt x="1987" y="3524"/>
                </a:lnTo>
                <a:lnTo>
                  <a:pt x="1928" y="3496"/>
                </a:lnTo>
                <a:lnTo>
                  <a:pt x="1874" y="3462"/>
                </a:lnTo>
                <a:lnTo>
                  <a:pt x="1823" y="3424"/>
                </a:lnTo>
                <a:lnTo>
                  <a:pt x="1776" y="3381"/>
                </a:lnTo>
                <a:lnTo>
                  <a:pt x="1733" y="3334"/>
                </a:lnTo>
                <a:lnTo>
                  <a:pt x="1695" y="3283"/>
                </a:lnTo>
                <a:lnTo>
                  <a:pt x="1662" y="3228"/>
                </a:lnTo>
                <a:lnTo>
                  <a:pt x="1634" y="3171"/>
                </a:lnTo>
                <a:lnTo>
                  <a:pt x="1611" y="3109"/>
                </a:lnTo>
                <a:lnTo>
                  <a:pt x="1595" y="3046"/>
                </a:lnTo>
                <a:lnTo>
                  <a:pt x="1585" y="2980"/>
                </a:lnTo>
                <a:lnTo>
                  <a:pt x="1582" y="2912"/>
                </a:lnTo>
                <a:lnTo>
                  <a:pt x="1585" y="2843"/>
                </a:lnTo>
                <a:lnTo>
                  <a:pt x="1595" y="2778"/>
                </a:lnTo>
                <a:lnTo>
                  <a:pt x="1611" y="2715"/>
                </a:lnTo>
                <a:lnTo>
                  <a:pt x="1634" y="2654"/>
                </a:lnTo>
                <a:lnTo>
                  <a:pt x="1662" y="2595"/>
                </a:lnTo>
                <a:lnTo>
                  <a:pt x="1695" y="2540"/>
                </a:lnTo>
                <a:lnTo>
                  <a:pt x="1733" y="2489"/>
                </a:lnTo>
                <a:lnTo>
                  <a:pt x="1776" y="2443"/>
                </a:lnTo>
                <a:lnTo>
                  <a:pt x="1823" y="2399"/>
                </a:lnTo>
                <a:lnTo>
                  <a:pt x="1874" y="2361"/>
                </a:lnTo>
                <a:lnTo>
                  <a:pt x="1928" y="2328"/>
                </a:lnTo>
                <a:lnTo>
                  <a:pt x="1987" y="2299"/>
                </a:lnTo>
                <a:lnTo>
                  <a:pt x="2047" y="2278"/>
                </a:lnTo>
                <a:lnTo>
                  <a:pt x="2111" y="2262"/>
                </a:lnTo>
                <a:lnTo>
                  <a:pt x="2177" y="2251"/>
                </a:lnTo>
                <a:lnTo>
                  <a:pt x="2245" y="2247"/>
                </a:lnTo>
                <a:close/>
                <a:moveTo>
                  <a:pt x="970" y="2044"/>
                </a:moveTo>
                <a:lnTo>
                  <a:pt x="1531" y="2044"/>
                </a:lnTo>
                <a:lnTo>
                  <a:pt x="1546" y="2046"/>
                </a:lnTo>
                <a:lnTo>
                  <a:pt x="1560" y="2053"/>
                </a:lnTo>
                <a:lnTo>
                  <a:pt x="1572" y="2064"/>
                </a:lnTo>
                <a:lnTo>
                  <a:pt x="1579" y="2078"/>
                </a:lnTo>
                <a:lnTo>
                  <a:pt x="1582" y="2095"/>
                </a:lnTo>
                <a:lnTo>
                  <a:pt x="1582" y="2146"/>
                </a:lnTo>
                <a:lnTo>
                  <a:pt x="1579" y="2162"/>
                </a:lnTo>
                <a:lnTo>
                  <a:pt x="1572" y="2176"/>
                </a:lnTo>
                <a:lnTo>
                  <a:pt x="1560" y="2187"/>
                </a:lnTo>
                <a:lnTo>
                  <a:pt x="1546" y="2194"/>
                </a:lnTo>
                <a:lnTo>
                  <a:pt x="1531" y="2197"/>
                </a:lnTo>
                <a:lnTo>
                  <a:pt x="970" y="2197"/>
                </a:lnTo>
                <a:lnTo>
                  <a:pt x="953" y="2194"/>
                </a:lnTo>
                <a:lnTo>
                  <a:pt x="939" y="2187"/>
                </a:lnTo>
                <a:lnTo>
                  <a:pt x="928" y="2176"/>
                </a:lnTo>
                <a:lnTo>
                  <a:pt x="921" y="2162"/>
                </a:lnTo>
                <a:lnTo>
                  <a:pt x="919" y="2146"/>
                </a:lnTo>
                <a:lnTo>
                  <a:pt x="919" y="2095"/>
                </a:lnTo>
                <a:lnTo>
                  <a:pt x="921" y="2078"/>
                </a:lnTo>
                <a:lnTo>
                  <a:pt x="928" y="2064"/>
                </a:lnTo>
                <a:lnTo>
                  <a:pt x="939" y="2053"/>
                </a:lnTo>
                <a:lnTo>
                  <a:pt x="953" y="2046"/>
                </a:lnTo>
                <a:lnTo>
                  <a:pt x="970" y="2044"/>
                </a:lnTo>
                <a:close/>
                <a:moveTo>
                  <a:pt x="790" y="1951"/>
                </a:moveTo>
                <a:lnTo>
                  <a:pt x="804" y="1954"/>
                </a:lnTo>
                <a:lnTo>
                  <a:pt x="817" y="1962"/>
                </a:lnTo>
                <a:lnTo>
                  <a:pt x="827" y="1973"/>
                </a:lnTo>
                <a:lnTo>
                  <a:pt x="832" y="1987"/>
                </a:lnTo>
                <a:lnTo>
                  <a:pt x="832" y="2001"/>
                </a:lnTo>
                <a:lnTo>
                  <a:pt x="829" y="2016"/>
                </a:lnTo>
                <a:lnTo>
                  <a:pt x="821" y="2029"/>
                </a:lnTo>
                <a:lnTo>
                  <a:pt x="633" y="2240"/>
                </a:lnTo>
                <a:lnTo>
                  <a:pt x="622" y="2249"/>
                </a:lnTo>
                <a:lnTo>
                  <a:pt x="610" y="2254"/>
                </a:lnTo>
                <a:lnTo>
                  <a:pt x="597" y="2256"/>
                </a:lnTo>
                <a:lnTo>
                  <a:pt x="582" y="2253"/>
                </a:lnTo>
                <a:lnTo>
                  <a:pt x="568" y="2245"/>
                </a:lnTo>
                <a:lnTo>
                  <a:pt x="451" y="2151"/>
                </a:lnTo>
                <a:lnTo>
                  <a:pt x="441" y="2140"/>
                </a:lnTo>
                <a:lnTo>
                  <a:pt x="435" y="2127"/>
                </a:lnTo>
                <a:lnTo>
                  <a:pt x="434" y="2113"/>
                </a:lnTo>
                <a:lnTo>
                  <a:pt x="436" y="2099"/>
                </a:lnTo>
                <a:lnTo>
                  <a:pt x="444" y="2085"/>
                </a:lnTo>
                <a:lnTo>
                  <a:pt x="454" y="2075"/>
                </a:lnTo>
                <a:lnTo>
                  <a:pt x="468" y="2070"/>
                </a:lnTo>
                <a:lnTo>
                  <a:pt x="483" y="2068"/>
                </a:lnTo>
                <a:lnTo>
                  <a:pt x="497" y="2071"/>
                </a:lnTo>
                <a:lnTo>
                  <a:pt x="510" y="2078"/>
                </a:lnTo>
                <a:lnTo>
                  <a:pt x="592" y="2145"/>
                </a:lnTo>
                <a:lnTo>
                  <a:pt x="751" y="1966"/>
                </a:lnTo>
                <a:lnTo>
                  <a:pt x="762" y="1956"/>
                </a:lnTo>
                <a:lnTo>
                  <a:pt x="776" y="1952"/>
                </a:lnTo>
                <a:lnTo>
                  <a:pt x="790" y="1951"/>
                </a:lnTo>
                <a:close/>
                <a:moveTo>
                  <a:pt x="970" y="1635"/>
                </a:moveTo>
                <a:lnTo>
                  <a:pt x="1785" y="1635"/>
                </a:lnTo>
                <a:lnTo>
                  <a:pt x="1802" y="1637"/>
                </a:lnTo>
                <a:lnTo>
                  <a:pt x="1816" y="1645"/>
                </a:lnTo>
                <a:lnTo>
                  <a:pt x="1827" y="1656"/>
                </a:lnTo>
                <a:lnTo>
                  <a:pt x="1834" y="1670"/>
                </a:lnTo>
                <a:lnTo>
                  <a:pt x="1836" y="1686"/>
                </a:lnTo>
                <a:lnTo>
                  <a:pt x="1836" y="1737"/>
                </a:lnTo>
                <a:lnTo>
                  <a:pt x="1834" y="1753"/>
                </a:lnTo>
                <a:lnTo>
                  <a:pt x="1827" y="1767"/>
                </a:lnTo>
                <a:lnTo>
                  <a:pt x="1816" y="1778"/>
                </a:lnTo>
                <a:lnTo>
                  <a:pt x="1802" y="1786"/>
                </a:lnTo>
                <a:lnTo>
                  <a:pt x="1785" y="1788"/>
                </a:lnTo>
                <a:lnTo>
                  <a:pt x="970" y="1788"/>
                </a:lnTo>
                <a:lnTo>
                  <a:pt x="953" y="1786"/>
                </a:lnTo>
                <a:lnTo>
                  <a:pt x="939" y="1778"/>
                </a:lnTo>
                <a:lnTo>
                  <a:pt x="928" y="1767"/>
                </a:lnTo>
                <a:lnTo>
                  <a:pt x="921" y="1753"/>
                </a:lnTo>
                <a:lnTo>
                  <a:pt x="919" y="1737"/>
                </a:lnTo>
                <a:lnTo>
                  <a:pt x="919" y="1686"/>
                </a:lnTo>
                <a:lnTo>
                  <a:pt x="921" y="1670"/>
                </a:lnTo>
                <a:lnTo>
                  <a:pt x="928" y="1656"/>
                </a:lnTo>
                <a:lnTo>
                  <a:pt x="939" y="1645"/>
                </a:lnTo>
                <a:lnTo>
                  <a:pt x="953" y="1637"/>
                </a:lnTo>
                <a:lnTo>
                  <a:pt x="970" y="1635"/>
                </a:lnTo>
                <a:close/>
                <a:moveTo>
                  <a:pt x="790" y="1516"/>
                </a:moveTo>
                <a:lnTo>
                  <a:pt x="804" y="1519"/>
                </a:lnTo>
                <a:lnTo>
                  <a:pt x="817" y="1528"/>
                </a:lnTo>
                <a:lnTo>
                  <a:pt x="827" y="1539"/>
                </a:lnTo>
                <a:lnTo>
                  <a:pt x="832" y="1553"/>
                </a:lnTo>
                <a:lnTo>
                  <a:pt x="832" y="1567"/>
                </a:lnTo>
                <a:lnTo>
                  <a:pt x="829" y="1581"/>
                </a:lnTo>
                <a:lnTo>
                  <a:pt x="821" y="1594"/>
                </a:lnTo>
                <a:lnTo>
                  <a:pt x="633" y="1805"/>
                </a:lnTo>
                <a:lnTo>
                  <a:pt x="622" y="1814"/>
                </a:lnTo>
                <a:lnTo>
                  <a:pt x="610" y="1819"/>
                </a:lnTo>
                <a:lnTo>
                  <a:pt x="597" y="1822"/>
                </a:lnTo>
                <a:lnTo>
                  <a:pt x="582" y="1818"/>
                </a:lnTo>
                <a:lnTo>
                  <a:pt x="568" y="1811"/>
                </a:lnTo>
                <a:lnTo>
                  <a:pt x="451" y="1716"/>
                </a:lnTo>
                <a:lnTo>
                  <a:pt x="441" y="1706"/>
                </a:lnTo>
                <a:lnTo>
                  <a:pt x="435" y="1693"/>
                </a:lnTo>
                <a:lnTo>
                  <a:pt x="434" y="1679"/>
                </a:lnTo>
                <a:lnTo>
                  <a:pt x="436" y="1663"/>
                </a:lnTo>
                <a:lnTo>
                  <a:pt x="444" y="1650"/>
                </a:lnTo>
                <a:lnTo>
                  <a:pt x="454" y="1641"/>
                </a:lnTo>
                <a:lnTo>
                  <a:pt x="468" y="1635"/>
                </a:lnTo>
                <a:lnTo>
                  <a:pt x="483" y="1633"/>
                </a:lnTo>
                <a:lnTo>
                  <a:pt x="497" y="1636"/>
                </a:lnTo>
                <a:lnTo>
                  <a:pt x="510" y="1644"/>
                </a:lnTo>
                <a:lnTo>
                  <a:pt x="592" y="1710"/>
                </a:lnTo>
                <a:lnTo>
                  <a:pt x="751" y="1531"/>
                </a:lnTo>
                <a:lnTo>
                  <a:pt x="762" y="1521"/>
                </a:lnTo>
                <a:lnTo>
                  <a:pt x="776" y="1517"/>
                </a:lnTo>
                <a:lnTo>
                  <a:pt x="790" y="1516"/>
                </a:lnTo>
                <a:close/>
                <a:moveTo>
                  <a:pt x="970" y="1175"/>
                </a:moveTo>
                <a:lnTo>
                  <a:pt x="1785" y="1175"/>
                </a:lnTo>
                <a:lnTo>
                  <a:pt x="1802" y="1178"/>
                </a:lnTo>
                <a:lnTo>
                  <a:pt x="1816" y="1184"/>
                </a:lnTo>
                <a:lnTo>
                  <a:pt x="1827" y="1196"/>
                </a:lnTo>
                <a:lnTo>
                  <a:pt x="1834" y="1210"/>
                </a:lnTo>
                <a:lnTo>
                  <a:pt x="1836" y="1226"/>
                </a:lnTo>
                <a:lnTo>
                  <a:pt x="1836" y="1278"/>
                </a:lnTo>
                <a:lnTo>
                  <a:pt x="1834" y="1293"/>
                </a:lnTo>
                <a:lnTo>
                  <a:pt x="1827" y="1307"/>
                </a:lnTo>
                <a:lnTo>
                  <a:pt x="1816" y="1319"/>
                </a:lnTo>
                <a:lnTo>
                  <a:pt x="1802" y="1325"/>
                </a:lnTo>
                <a:lnTo>
                  <a:pt x="1785" y="1329"/>
                </a:lnTo>
                <a:lnTo>
                  <a:pt x="970" y="1329"/>
                </a:lnTo>
                <a:lnTo>
                  <a:pt x="953" y="1325"/>
                </a:lnTo>
                <a:lnTo>
                  <a:pt x="939" y="1319"/>
                </a:lnTo>
                <a:lnTo>
                  <a:pt x="928" y="1307"/>
                </a:lnTo>
                <a:lnTo>
                  <a:pt x="921" y="1293"/>
                </a:lnTo>
                <a:lnTo>
                  <a:pt x="919" y="1278"/>
                </a:lnTo>
                <a:lnTo>
                  <a:pt x="919" y="1226"/>
                </a:lnTo>
                <a:lnTo>
                  <a:pt x="921" y="1210"/>
                </a:lnTo>
                <a:lnTo>
                  <a:pt x="928" y="1196"/>
                </a:lnTo>
                <a:lnTo>
                  <a:pt x="939" y="1184"/>
                </a:lnTo>
                <a:lnTo>
                  <a:pt x="953" y="1178"/>
                </a:lnTo>
                <a:lnTo>
                  <a:pt x="970" y="1175"/>
                </a:lnTo>
                <a:close/>
                <a:moveTo>
                  <a:pt x="790" y="1061"/>
                </a:moveTo>
                <a:lnTo>
                  <a:pt x="804" y="1065"/>
                </a:lnTo>
                <a:lnTo>
                  <a:pt x="817" y="1073"/>
                </a:lnTo>
                <a:lnTo>
                  <a:pt x="827" y="1085"/>
                </a:lnTo>
                <a:lnTo>
                  <a:pt x="832" y="1098"/>
                </a:lnTo>
                <a:lnTo>
                  <a:pt x="832" y="1113"/>
                </a:lnTo>
                <a:lnTo>
                  <a:pt x="829" y="1127"/>
                </a:lnTo>
                <a:lnTo>
                  <a:pt x="821" y="1139"/>
                </a:lnTo>
                <a:lnTo>
                  <a:pt x="633" y="1351"/>
                </a:lnTo>
                <a:lnTo>
                  <a:pt x="622" y="1360"/>
                </a:lnTo>
                <a:lnTo>
                  <a:pt x="610" y="1365"/>
                </a:lnTo>
                <a:lnTo>
                  <a:pt x="597" y="1366"/>
                </a:lnTo>
                <a:lnTo>
                  <a:pt x="582" y="1364"/>
                </a:lnTo>
                <a:lnTo>
                  <a:pt x="568" y="1357"/>
                </a:lnTo>
                <a:lnTo>
                  <a:pt x="451" y="1262"/>
                </a:lnTo>
                <a:lnTo>
                  <a:pt x="441" y="1252"/>
                </a:lnTo>
                <a:lnTo>
                  <a:pt x="435" y="1238"/>
                </a:lnTo>
                <a:lnTo>
                  <a:pt x="434" y="1223"/>
                </a:lnTo>
                <a:lnTo>
                  <a:pt x="436" y="1209"/>
                </a:lnTo>
                <a:lnTo>
                  <a:pt x="444" y="1196"/>
                </a:lnTo>
                <a:lnTo>
                  <a:pt x="454" y="1187"/>
                </a:lnTo>
                <a:lnTo>
                  <a:pt x="468" y="1180"/>
                </a:lnTo>
                <a:lnTo>
                  <a:pt x="483" y="1179"/>
                </a:lnTo>
                <a:lnTo>
                  <a:pt x="497" y="1181"/>
                </a:lnTo>
                <a:lnTo>
                  <a:pt x="510" y="1189"/>
                </a:lnTo>
                <a:lnTo>
                  <a:pt x="592" y="1255"/>
                </a:lnTo>
                <a:lnTo>
                  <a:pt x="751" y="1077"/>
                </a:lnTo>
                <a:lnTo>
                  <a:pt x="762" y="1067"/>
                </a:lnTo>
                <a:lnTo>
                  <a:pt x="776" y="1062"/>
                </a:lnTo>
                <a:lnTo>
                  <a:pt x="790" y="1061"/>
                </a:lnTo>
                <a:close/>
                <a:moveTo>
                  <a:pt x="154" y="358"/>
                </a:moveTo>
                <a:lnTo>
                  <a:pt x="567" y="358"/>
                </a:lnTo>
                <a:lnTo>
                  <a:pt x="563" y="384"/>
                </a:lnTo>
                <a:lnTo>
                  <a:pt x="562" y="411"/>
                </a:lnTo>
                <a:lnTo>
                  <a:pt x="565" y="452"/>
                </a:lnTo>
                <a:lnTo>
                  <a:pt x="575" y="491"/>
                </a:lnTo>
                <a:lnTo>
                  <a:pt x="590" y="527"/>
                </a:lnTo>
                <a:lnTo>
                  <a:pt x="610" y="560"/>
                </a:lnTo>
                <a:lnTo>
                  <a:pt x="635" y="589"/>
                </a:lnTo>
                <a:lnTo>
                  <a:pt x="665" y="616"/>
                </a:lnTo>
                <a:lnTo>
                  <a:pt x="699" y="636"/>
                </a:lnTo>
                <a:lnTo>
                  <a:pt x="735" y="651"/>
                </a:lnTo>
                <a:lnTo>
                  <a:pt x="774" y="661"/>
                </a:lnTo>
                <a:lnTo>
                  <a:pt x="815" y="664"/>
                </a:lnTo>
                <a:lnTo>
                  <a:pt x="1481" y="664"/>
                </a:lnTo>
                <a:lnTo>
                  <a:pt x="1522" y="661"/>
                </a:lnTo>
                <a:lnTo>
                  <a:pt x="1561" y="651"/>
                </a:lnTo>
                <a:lnTo>
                  <a:pt x="1597" y="636"/>
                </a:lnTo>
                <a:lnTo>
                  <a:pt x="1631" y="614"/>
                </a:lnTo>
                <a:lnTo>
                  <a:pt x="1660" y="589"/>
                </a:lnTo>
                <a:lnTo>
                  <a:pt x="1686" y="559"/>
                </a:lnTo>
                <a:lnTo>
                  <a:pt x="1706" y="526"/>
                </a:lnTo>
                <a:lnTo>
                  <a:pt x="1722" y="489"/>
                </a:lnTo>
                <a:lnTo>
                  <a:pt x="1731" y="449"/>
                </a:lnTo>
                <a:lnTo>
                  <a:pt x="1735" y="407"/>
                </a:lnTo>
                <a:lnTo>
                  <a:pt x="1733" y="383"/>
                </a:lnTo>
                <a:lnTo>
                  <a:pt x="1729" y="358"/>
                </a:lnTo>
                <a:lnTo>
                  <a:pt x="2041" y="358"/>
                </a:lnTo>
                <a:lnTo>
                  <a:pt x="2084" y="360"/>
                </a:lnTo>
                <a:lnTo>
                  <a:pt x="2123" y="366"/>
                </a:lnTo>
                <a:lnTo>
                  <a:pt x="2158" y="377"/>
                </a:lnTo>
                <a:lnTo>
                  <a:pt x="2190" y="390"/>
                </a:lnTo>
                <a:lnTo>
                  <a:pt x="2217" y="407"/>
                </a:lnTo>
                <a:lnTo>
                  <a:pt x="2241" y="428"/>
                </a:lnTo>
                <a:lnTo>
                  <a:pt x="2260" y="451"/>
                </a:lnTo>
                <a:lnTo>
                  <a:pt x="2276" y="476"/>
                </a:lnTo>
                <a:lnTo>
                  <a:pt x="2286" y="503"/>
                </a:lnTo>
                <a:lnTo>
                  <a:pt x="2294" y="532"/>
                </a:lnTo>
                <a:lnTo>
                  <a:pt x="2296" y="562"/>
                </a:lnTo>
                <a:lnTo>
                  <a:pt x="2296" y="2097"/>
                </a:lnTo>
                <a:lnTo>
                  <a:pt x="2270" y="2096"/>
                </a:lnTo>
                <a:lnTo>
                  <a:pt x="2245" y="2095"/>
                </a:lnTo>
                <a:lnTo>
                  <a:pt x="2175" y="2098"/>
                </a:lnTo>
                <a:lnTo>
                  <a:pt x="2107" y="2107"/>
                </a:lnTo>
                <a:lnTo>
                  <a:pt x="2041" y="2122"/>
                </a:lnTo>
                <a:lnTo>
                  <a:pt x="2041" y="920"/>
                </a:lnTo>
                <a:lnTo>
                  <a:pt x="255" y="920"/>
                </a:lnTo>
                <a:lnTo>
                  <a:pt x="255" y="2963"/>
                </a:lnTo>
                <a:lnTo>
                  <a:pt x="1432" y="2963"/>
                </a:lnTo>
                <a:lnTo>
                  <a:pt x="1438" y="3030"/>
                </a:lnTo>
                <a:lnTo>
                  <a:pt x="1450" y="3095"/>
                </a:lnTo>
                <a:lnTo>
                  <a:pt x="1467" y="3158"/>
                </a:lnTo>
                <a:lnTo>
                  <a:pt x="1489" y="3218"/>
                </a:lnTo>
                <a:lnTo>
                  <a:pt x="204" y="3218"/>
                </a:lnTo>
                <a:lnTo>
                  <a:pt x="168" y="3215"/>
                </a:lnTo>
                <a:lnTo>
                  <a:pt x="133" y="3205"/>
                </a:lnTo>
                <a:lnTo>
                  <a:pt x="102" y="3190"/>
                </a:lnTo>
                <a:lnTo>
                  <a:pt x="72" y="3171"/>
                </a:lnTo>
                <a:lnTo>
                  <a:pt x="49" y="3146"/>
                </a:lnTo>
                <a:lnTo>
                  <a:pt x="28" y="3118"/>
                </a:lnTo>
                <a:lnTo>
                  <a:pt x="13" y="3085"/>
                </a:lnTo>
                <a:lnTo>
                  <a:pt x="3" y="3050"/>
                </a:lnTo>
                <a:lnTo>
                  <a:pt x="0" y="3014"/>
                </a:lnTo>
                <a:lnTo>
                  <a:pt x="0" y="562"/>
                </a:lnTo>
                <a:lnTo>
                  <a:pt x="3" y="529"/>
                </a:lnTo>
                <a:lnTo>
                  <a:pt x="10" y="497"/>
                </a:lnTo>
                <a:lnTo>
                  <a:pt x="22" y="468"/>
                </a:lnTo>
                <a:lnTo>
                  <a:pt x="37" y="441"/>
                </a:lnTo>
                <a:lnTo>
                  <a:pt x="54" y="417"/>
                </a:lnTo>
                <a:lnTo>
                  <a:pt x="72" y="397"/>
                </a:lnTo>
                <a:lnTo>
                  <a:pt x="93" y="380"/>
                </a:lnTo>
                <a:lnTo>
                  <a:pt x="114" y="368"/>
                </a:lnTo>
                <a:lnTo>
                  <a:pt x="134" y="360"/>
                </a:lnTo>
                <a:lnTo>
                  <a:pt x="154" y="358"/>
                </a:lnTo>
                <a:close/>
                <a:moveTo>
                  <a:pt x="1148" y="102"/>
                </a:moveTo>
                <a:lnTo>
                  <a:pt x="1127" y="105"/>
                </a:lnTo>
                <a:lnTo>
                  <a:pt x="1109" y="113"/>
                </a:lnTo>
                <a:lnTo>
                  <a:pt x="1094" y="125"/>
                </a:lnTo>
                <a:lnTo>
                  <a:pt x="1082" y="140"/>
                </a:lnTo>
                <a:lnTo>
                  <a:pt x="1074" y="158"/>
                </a:lnTo>
                <a:lnTo>
                  <a:pt x="1071" y="179"/>
                </a:lnTo>
                <a:lnTo>
                  <a:pt x="1074" y="199"/>
                </a:lnTo>
                <a:lnTo>
                  <a:pt x="1082" y="218"/>
                </a:lnTo>
                <a:lnTo>
                  <a:pt x="1094" y="233"/>
                </a:lnTo>
                <a:lnTo>
                  <a:pt x="1109" y="245"/>
                </a:lnTo>
                <a:lnTo>
                  <a:pt x="1127" y="252"/>
                </a:lnTo>
                <a:lnTo>
                  <a:pt x="1148" y="256"/>
                </a:lnTo>
                <a:lnTo>
                  <a:pt x="1169" y="252"/>
                </a:lnTo>
                <a:lnTo>
                  <a:pt x="1187" y="245"/>
                </a:lnTo>
                <a:lnTo>
                  <a:pt x="1202" y="233"/>
                </a:lnTo>
                <a:lnTo>
                  <a:pt x="1214" y="218"/>
                </a:lnTo>
                <a:lnTo>
                  <a:pt x="1222" y="199"/>
                </a:lnTo>
                <a:lnTo>
                  <a:pt x="1225" y="179"/>
                </a:lnTo>
                <a:lnTo>
                  <a:pt x="1222" y="158"/>
                </a:lnTo>
                <a:lnTo>
                  <a:pt x="1214" y="140"/>
                </a:lnTo>
                <a:lnTo>
                  <a:pt x="1202" y="125"/>
                </a:lnTo>
                <a:lnTo>
                  <a:pt x="1187" y="113"/>
                </a:lnTo>
                <a:lnTo>
                  <a:pt x="1169" y="105"/>
                </a:lnTo>
                <a:lnTo>
                  <a:pt x="1148" y="102"/>
                </a:lnTo>
                <a:close/>
                <a:moveTo>
                  <a:pt x="1146" y="0"/>
                </a:moveTo>
                <a:lnTo>
                  <a:pt x="1150" y="0"/>
                </a:lnTo>
                <a:lnTo>
                  <a:pt x="1182" y="3"/>
                </a:lnTo>
                <a:lnTo>
                  <a:pt x="1212" y="11"/>
                </a:lnTo>
                <a:lnTo>
                  <a:pt x="1239" y="24"/>
                </a:lnTo>
                <a:lnTo>
                  <a:pt x="1264" y="41"/>
                </a:lnTo>
                <a:lnTo>
                  <a:pt x="1285" y="63"/>
                </a:lnTo>
                <a:lnTo>
                  <a:pt x="1303" y="88"/>
                </a:lnTo>
                <a:lnTo>
                  <a:pt x="1316" y="115"/>
                </a:lnTo>
                <a:lnTo>
                  <a:pt x="1323" y="145"/>
                </a:lnTo>
                <a:lnTo>
                  <a:pt x="1327" y="177"/>
                </a:lnTo>
                <a:lnTo>
                  <a:pt x="1327" y="179"/>
                </a:lnTo>
                <a:lnTo>
                  <a:pt x="1329" y="199"/>
                </a:lnTo>
                <a:lnTo>
                  <a:pt x="1337" y="218"/>
                </a:lnTo>
                <a:lnTo>
                  <a:pt x="1349" y="233"/>
                </a:lnTo>
                <a:lnTo>
                  <a:pt x="1364" y="245"/>
                </a:lnTo>
                <a:lnTo>
                  <a:pt x="1382" y="252"/>
                </a:lnTo>
                <a:lnTo>
                  <a:pt x="1402" y="256"/>
                </a:lnTo>
                <a:lnTo>
                  <a:pt x="1481" y="256"/>
                </a:lnTo>
                <a:lnTo>
                  <a:pt x="1512" y="259"/>
                </a:lnTo>
                <a:lnTo>
                  <a:pt x="1540" y="268"/>
                </a:lnTo>
                <a:lnTo>
                  <a:pt x="1566" y="282"/>
                </a:lnTo>
                <a:lnTo>
                  <a:pt x="1588" y="300"/>
                </a:lnTo>
                <a:lnTo>
                  <a:pt x="1607" y="322"/>
                </a:lnTo>
                <a:lnTo>
                  <a:pt x="1621" y="348"/>
                </a:lnTo>
                <a:lnTo>
                  <a:pt x="1630" y="377"/>
                </a:lnTo>
                <a:lnTo>
                  <a:pt x="1633" y="407"/>
                </a:lnTo>
                <a:lnTo>
                  <a:pt x="1633" y="411"/>
                </a:lnTo>
                <a:lnTo>
                  <a:pt x="1630" y="441"/>
                </a:lnTo>
                <a:lnTo>
                  <a:pt x="1621" y="469"/>
                </a:lnTo>
                <a:lnTo>
                  <a:pt x="1607" y="495"/>
                </a:lnTo>
                <a:lnTo>
                  <a:pt x="1588" y="518"/>
                </a:lnTo>
                <a:lnTo>
                  <a:pt x="1566" y="536"/>
                </a:lnTo>
                <a:lnTo>
                  <a:pt x="1540" y="550"/>
                </a:lnTo>
                <a:lnTo>
                  <a:pt x="1512" y="559"/>
                </a:lnTo>
                <a:lnTo>
                  <a:pt x="1481" y="562"/>
                </a:lnTo>
                <a:lnTo>
                  <a:pt x="815" y="562"/>
                </a:lnTo>
                <a:lnTo>
                  <a:pt x="784" y="559"/>
                </a:lnTo>
                <a:lnTo>
                  <a:pt x="756" y="550"/>
                </a:lnTo>
                <a:lnTo>
                  <a:pt x="730" y="536"/>
                </a:lnTo>
                <a:lnTo>
                  <a:pt x="708" y="518"/>
                </a:lnTo>
                <a:lnTo>
                  <a:pt x="689" y="495"/>
                </a:lnTo>
                <a:lnTo>
                  <a:pt x="675" y="469"/>
                </a:lnTo>
                <a:lnTo>
                  <a:pt x="667" y="441"/>
                </a:lnTo>
                <a:lnTo>
                  <a:pt x="663" y="411"/>
                </a:lnTo>
                <a:lnTo>
                  <a:pt x="663" y="407"/>
                </a:lnTo>
                <a:lnTo>
                  <a:pt x="667" y="377"/>
                </a:lnTo>
                <a:lnTo>
                  <a:pt x="675" y="348"/>
                </a:lnTo>
                <a:lnTo>
                  <a:pt x="689" y="322"/>
                </a:lnTo>
                <a:lnTo>
                  <a:pt x="708" y="300"/>
                </a:lnTo>
                <a:lnTo>
                  <a:pt x="730" y="282"/>
                </a:lnTo>
                <a:lnTo>
                  <a:pt x="756" y="268"/>
                </a:lnTo>
                <a:lnTo>
                  <a:pt x="784" y="259"/>
                </a:lnTo>
                <a:lnTo>
                  <a:pt x="815" y="256"/>
                </a:lnTo>
                <a:lnTo>
                  <a:pt x="894" y="256"/>
                </a:lnTo>
                <a:lnTo>
                  <a:pt x="913" y="252"/>
                </a:lnTo>
                <a:lnTo>
                  <a:pt x="932" y="245"/>
                </a:lnTo>
                <a:lnTo>
                  <a:pt x="947" y="233"/>
                </a:lnTo>
                <a:lnTo>
                  <a:pt x="959" y="218"/>
                </a:lnTo>
                <a:lnTo>
                  <a:pt x="966" y="199"/>
                </a:lnTo>
                <a:lnTo>
                  <a:pt x="970" y="179"/>
                </a:lnTo>
                <a:lnTo>
                  <a:pt x="970" y="177"/>
                </a:lnTo>
                <a:lnTo>
                  <a:pt x="973" y="145"/>
                </a:lnTo>
                <a:lnTo>
                  <a:pt x="980" y="115"/>
                </a:lnTo>
                <a:lnTo>
                  <a:pt x="993" y="88"/>
                </a:lnTo>
                <a:lnTo>
                  <a:pt x="1011" y="63"/>
                </a:lnTo>
                <a:lnTo>
                  <a:pt x="1032" y="41"/>
                </a:lnTo>
                <a:lnTo>
                  <a:pt x="1057" y="24"/>
                </a:lnTo>
                <a:lnTo>
                  <a:pt x="1084" y="11"/>
                </a:lnTo>
                <a:lnTo>
                  <a:pt x="1115" y="3"/>
                </a:lnTo>
                <a:lnTo>
                  <a:pt x="114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rved Left Arrow 18"/>
          <p:cNvSpPr/>
          <p:nvPr/>
        </p:nvSpPr>
        <p:spPr>
          <a:xfrm rot="17242330">
            <a:off x="5739687" y="1686185"/>
            <a:ext cx="776199" cy="1508466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Curved Left Arrow 72"/>
          <p:cNvSpPr/>
          <p:nvPr/>
        </p:nvSpPr>
        <p:spPr>
          <a:xfrm rot="14126742" flipH="1" flipV="1">
            <a:off x="5877870" y="5169233"/>
            <a:ext cx="838200" cy="1625481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Curved Left Arrow 72"/>
          <p:cNvSpPr/>
          <p:nvPr/>
        </p:nvSpPr>
        <p:spPr>
          <a:xfrm rot="14639772" flipV="1">
            <a:off x="2383229" y="1743186"/>
            <a:ext cx="812199" cy="1405415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Curved Left Arrow 72"/>
          <p:cNvSpPr/>
          <p:nvPr/>
        </p:nvSpPr>
        <p:spPr>
          <a:xfrm rot="8343767" flipV="1">
            <a:off x="2017339" y="5153143"/>
            <a:ext cx="830408" cy="1559179"/>
          </a:xfrm>
          <a:prstGeom prst="curvedLef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463174" y="3060253"/>
            <a:ext cx="19729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здана</a:t>
            </a:r>
          </a:p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бочая группа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Заголовок 1"/>
          <p:cNvSpPr>
            <a:spLocks noGrp="1"/>
          </p:cNvSpPr>
          <p:nvPr>
            <p:ph type="title"/>
          </p:nvPr>
        </p:nvSpPr>
        <p:spPr>
          <a:xfrm>
            <a:off x="8152" y="31904"/>
            <a:ext cx="9135848" cy="804808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НОВЫЕ ВОЗМОЖНОСТИ РАЗВИТИЯ В УСЛОВИЯХ</a:t>
            </a:r>
            <a:b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ЧЕТВЕРТОЙ ПРОМЫШЛЕННОЙ РЕВОЛЮЦИИ» </a:t>
            </a: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8152" y="787947"/>
            <a:ext cx="9135848" cy="3"/>
          </a:xfrm>
          <a:prstGeom prst="line">
            <a:avLst/>
          </a:prstGeom>
          <a:ln w="25400">
            <a:solidFill>
              <a:srgbClr val="082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205" y="983104"/>
            <a:ext cx="662668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C:\Users\zagidullina_g\Documents\images (3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144" y="980728"/>
            <a:ext cx="662668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998812" y="972023"/>
            <a:ext cx="35492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ускорить 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еализацию плана приватизации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с расширением его за счет сокращения числа подведомственных организаций государственных органов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234668" y="964736"/>
            <a:ext cx="35821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по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озможности 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онсолидировать подведомственные организаций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государственных органов для снижения административных расходов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408229" y="5517236"/>
            <a:ext cx="210706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ктуализация </a:t>
            </a:r>
          </a:p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речня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ов </a:t>
            </a:r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ватизации 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6167258" y="3750133"/>
            <a:ext cx="19331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нтаризация компаний квазигоссектора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9" name="Group 45"/>
          <p:cNvGrpSpPr/>
          <p:nvPr/>
        </p:nvGrpSpPr>
        <p:grpSpPr>
          <a:xfrm>
            <a:off x="1520004" y="3074639"/>
            <a:ext cx="554300" cy="642395"/>
            <a:chOff x="890588" y="2374900"/>
            <a:chExt cx="681038" cy="654050"/>
          </a:xfrm>
          <a:solidFill>
            <a:schemeClr val="bg1"/>
          </a:solidFill>
        </p:grpSpPr>
        <p:sp>
          <p:nvSpPr>
            <p:cNvPr id="80" name="Freeform 175"/>
            <p:cNvSpPr>
              <a:spLocks/>
            </p:cNvSpPr>
            <p:nvPr/>
          </p:nvSpPr>
          <p:spPr bwMode="auto">
            <a:xfrm>
              <a:off x="989013" y="2462213"/>
              <a:ext cx="157163" cy="152400"/>
            </a:xfrm>
            <a:custGeom>
              <a:avLst/>
              <a:gdLst>
                <a:gd name="T0" fmla="*/ 311 w 791"/>
                <a:gd name="T1" fmla="*/ 0 h 769"/>
                <a:gd name="T2" fmla="*/ 353 w 791"/>
                <a:gd name="T3" fmla="*/ 3 h 769"/>
                <a:gd name="T4" fmla="*/ 393 w 791"/>
                <a:gd name="T5" fmla="*/ 11 h 769"/>
                <a:gd name="T6" fmla="*/ 431 w 791"/>
                <a:gd name="T7" fmla="*/ 24 h 769"/>
                <a:gd name="T8" fmla="*/ 467 w 791"/>
                <a:gd name="T9" fmla="*/ 42 h 769"/>
                <a:gd name="T10" fmla="*/ 500 w 791"/>
                <a:gd name="T11" fmla="*/ 64 h 769"/>
                <a:gd name="T12" fmla="*/ 530 w 791"/>
                <a:gd name="T13" fmla="*/ 90 h 769"/>
                <a:gd name="T14" fmla="*/ 556 w 791"/>
                <a:gd name="T15" fmla="*/ 121 h 769"/>
                <a:gd name="T16" fmla="*/ 578 w 791"/>
                <a:gd name="T17" fmla="*/ 153 h 769"/>
                <a:gd name="T18" fmla="*/ 596 w 791"/>
                <a:gd name="T19" fmla="*/ 189 h 769"/>
                <a:gd name="T20" fmla="*/ 610 w 791"/>
                <a:gd name="T21" fmla="*/ 227 h 769"/>
                <a:gd name="T22" fmla="*/ 618 w 791"/>
                <a:gd name="T23" fmla="*/ 268 h 769"/>
                <a:gd name="T24" fmla="*/ 620 w 791"/>
                <a:gd name="T25" fmla="*/ 310 h 769"/>
                <a:gd name="T26" fmla="*/ 618 w 791"/>
                <a:gd name="T27" fmla="*/ 350 h 769"/>
                <a:gd name="T28" fmla="*/ 610 w 791"/>
                <a:gd name="T29" fmla="*/ 388 h 769"/>
                <a:gd name="T30" fmla="*/ 597 w 791"/>
                <a:gd name="T31" fmla="*/ 424 h 769"/>
                <a:gd name="T32" fmla="*/ 581 w 791"/>
                <a:gd name="T33" fmla="*/ 458 h 769"/>
                <a:gd name="T34" fmla="*/ 791 w 791"/>
                <a:gd name="T35" fmla="*/ 656 h 769"/>
                <a:gd name="T36" fmla="*/ 752 w 791"/>
                <a:gd name="T37" fmla="*/ 691 h 769"/>
                <a:gd name="T38" fmla="*/ 716 w 791"/>
                <a:gd name="T39" fmla="*/ 729 h 769"/>
                <a:gd name="T40" fmla="*/ 683 w 791"/>
                <a:gd name="T41" fmla="*/ 769 h 769"/>
                <a:gd name="T42" fmla="*/ 474 w 791"/>
                <a:gd name="T43" fmla="*/ 572 h 769"/>
                <a:gd name="T44" fmla="*/ 437 w 791"/>
                <a:gd name="T45" fmla="*/ 592 h 769"/>
                <a:gd name="T46" fmla="*/ 397 w 791"/>
                <a:gd name="T47" fmla="*/ 607 h 769"/>
                <a:gd name="T48" fmla="*/ 355 w 791"/>
                <a:gd name="T49" fmla="*/ 616 h 769"/>
                <a:gd name="T50" fmla="*/ 311 w 791"/>
                <a:gd name="T51" fmla="*/ 619 h 769"/>
                <a:gd name="T52" fmla="*/ 269 w 791"/>
                <a:gd name="T53" fmla="*/ 617 h 769"/>
                <a:gd name="T54" fmla="*/ 228 w 791"/>
                <a:gd name="T55" fmla="*/ 609 h 769"/>
                <a:gd name="T56" fmla="*/ 190 w 791"/>
                <a:gd name="T57" fmla="*/ 595 h 769"/>
                <a:gd name="T58" fmla="*/ 154 w 791"/>
                <a:gd name="T59" fmla="*/ 577 h 769"/>
                <a:gd name="T60" fmla="*/ 120 w 791"/>
                <a:gd name="T61" fmla="*/ 555 h 769"/>
                <a:gd name="T62" fmla="*/ 91 w 791"/>
                <a:gd name="T63" fmla="*/ 529 h 769"/>
                <a:gd name="T64" fmla="*/ 65 w 791"/>
                <a:gd name="T65" fmla="*/ 500 h 769"/>
                <a:gd name="T66" fmla="*/ 43 w 791"/>
                <a:gd name="T67" fmla="*/ 466 h 769"/>
                <a:gd name="T68" fmla="*/ 25 w 791"/>
                <a:gd name="T69" fmla="*/ 430 h 769"/>
                <a:gd name="T70" fmla="*/ 11 w 791"/>
                <a:gd name="T71" fmla="*/ 392 h 769"/>
                <a:gd name="T72" fmla="*/ 4 w 791"/>
                <a:gd name="T73" fmla="*/ 352 h 769"/>
                <a:gd name="T74" fmla="*/ 0 w 791"/>
                <a:gd name="T75" fmla="*/ 310 h 769"/>
                <a:gd name="T76" fmla="*/ 4 w 791"/>
                <a:gd name="T77" fmla="*/ 268 h 769"/>
                <a:gd name="T78" fmla="*/ 11 w 791"/>
                <a:gd name="T79" fmla="*/ 227 h 769"/>
                <a:gd name="T80" fmla="*/ 25 w 791"/>
                <a:gd name="T81" fmla="*/ 189 h 769"/>
                <a:gd name="T82" fmla="*/ 43 w 791"/>
                <a:gd name="T83" fmla="*/ 153 h 769"/>
                <a:gd name="T84" fmla="*/ 65 w 791"/>
                <a:gd name="T85" fmla="*/ 121 h 769"/>
                <a:gd name="T86" fmla="*/ 91 w 791"/>
                <a:gd name="T87" fmla="*/ 90 h 769"/>
                <a:gd name="T88" fmla="*/ 120 w 791"/>
                <a:gd name="T89" fmla="*/ 64 h 769"/>
                <a:gd name="T90" fmla="*/ 154 w 791"/>
                <a:gd name="T91" fmla="*/ 42 h 769"/>
                <a:gd name="T92" fmla="*/ 190 w 791"/>
                <a:gd name="T93" fmla="*/ 24 h 769"/>
                <a:gd name="T94" fmla="*/ 228 w 791"/>
                <a:gd name="T95" fmla="*/ 11 h 769"/>
                <a:gd name="T96" fmla="*/ 269 w 791"/>
                <a:gd name="T97" fmla="*/ 3 h 769"/>
                <a:gd name="T98" fmla="*/ 311 w 791"/>
                <a:gd name="T99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1" h="769">
                  <a:moveTo>
                    <a:pt x="311" y="0"/>
                  </a:moveTo>
                  <a:lnTo>
                    <a:pt x="353" y="3"/>
                  </a:lnTo>
                  <a:lnTo>
                    <a:pt x="393" y="11"/>
                  </a:lnTo>
                  <a:lnTo>
                    <a:pt x="431" y="24"/>
                  </a:lnTo>
                  <a:lnTo>
                    <a:pt x="467" y="42"/>
                  </a:lnTo>
                  <a:lnTo>
                    <a:pt x="500" y="64"/>
                  </a:lnTo>
                  <a:lnTo>
                    <a:pt x="530" y="90"/>
                  </a:lnTo>
                  <a:lnTo>
                    <a:pt x="556" y="121"/>
                  </a:lnTo>
                  <a:lnTo>
                    <a:pt x="578" y="153"/>
                  </a:lnTo>
                  <a:lnTo>
                    <a:pt x="596" y="189"/>
                  </a:lnTo>
                  <a:lnTo>
                    <a:pt x="610" y="227"/>
                  </a:lnTo>
                  <a:lnTo>
                    <a:pt x="618" y="268"/>
                  </a:lnTo>
                  <a:lnTo>
                    <a:pt x="620" y="310"/>
                  </a:lnTo>
                  <a:lnTo>
                    <a:pt x="618" y="350"/>
                  </a:lnTo>
                  <a:lnTo>
                    <a:pt x="610" y="388"/>
                  </a:lnTo>
                  <a:lnTo>
                    <a:pt x="597" y="424"/>
                  </a:lnTo>
                  <a:lnTo>
                    <a:pt x="581" y="458"/>
                  </a:lnTo>
                  <a:lnTo>
                    <a:pt x="791" y="656"/>
                  </a:lnTo>
                  <a:lnTo>
                    <a:pt x="752" y="691"/>
                  </a:lnTo>
                  <a:lnTo>
                    <a:pt x="716" y="729"/>
                  </a:lnTo>
                  <a:lnTo>
                    <a:pt x="683" y="769"/>
                  </a:lnTo>
                  <a:lnTo>
                    <a:pt x="474" y="572"/>
                  </a:lnTo>
                  <a:lnTo>
                    <a:pt x="437" y="592"/>
                  </a:lnTo>
                  <a:lnTo>
                    <a:pt x="397" y="607"/>
                  </a:lnTo>
                  <a:lnTo>
                    <a:pt x="355" y="616"/>
                  </a:lnTo>
                  <a:lnTo>
                    <a:pt x="311" y="619"/>
                  </a:lnTo>
                  <a:lnTo>
                    <a:pt x="269" y="617"/>
                  </a:lnTo>
                  <a:lnTo>
                    <a:pt x="228" y="609"/>
                  </a:lnTo>
                  <a:lnTo>
                    <a:pt x="190" y="595"/>
                  </a:lnTo>
                  <a:lnTo>
                    <a:pt x="154" y="577"/>
                  </a:lnTo>
                  <a:lnTo>
                    <a:pt x="120" y="555"/>
                  </a:lnTo>
                  <a:lnTo>
                    <a:pt x="91" y="529"/>
                  </a:lnTo>
                  <a:lnTo>
                    <a:pt x="65" y="500"/>
                  </a:lnTo>
                  <a:lnTo>
                    <a:pt x="43" y="466"/>
                  </a:lnTo>
                  <a:lnTo>
                    <a:pt x="25" y="430"/>
                  </a:lnTo>
                  <a:lnTo>
                    <a:pt x="11" y="392"/>
                  </a:lnTo>
                  <a:lnTo>
                    <a:pt x="4" y="352"/>
                  </a:lnTo>
                  <a:lnTo>
                    <a:pt x="0" y="310"/>
                  </a:lnTo>
                  <a:lnTo>
                    <a:pt x="4" y="268"/>
                  </a:lnTo>
                  <a:lnTo>
                    <a:pt x="11" y="227"/>
                  </a:lnTo>
                  <a:lnTo>
                    <a:pt x="25" y="189"/>
                  </a:lnTo>
                  <a:lnTo>
                    <a:pt x="43" y="153"/>
                  </a:lnTo>
                  <a:lnTo>
                    <a:pt x="65" y="121"/>
                  </a:lnTo>
                  <a:lnTo>
                    <a:pt x="91" y="90"/>
                  </a:lnTo>
                  <a:lnTo>
                    <a:pt x="120" y="64"/>
                  </a:lnTo>
                  <a:lnTo>
                    <a:pt x="154" y="42"/>
                  </a:lnTo>
                  <a:lnTo>
                    <a:pt x="190" y="24"/>
                  </a:lnTo>
                  <a:lnTo>
                    <a:pt x="228" y="11"/>
                  </a:lnTo>
                  <a:lnTo>
                    <a:pt x="269" y="3"/>
                  </a:lnTo>
                  <a:lnTo>
                    <a:pt x="3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176"/>
            <p:cNvSpPr>
              <a:spLocks/>
            </p:cNvSpPr>
            <p:nvPr/>
          </p:nvSpPr>
          <p:spPr bwMode="auto">
            <a:xfrm>
              <a:off x="1293813" y="2374900"/>
              <a:ext cx="160338" cy="212725"/>
            </a:xfrm>
            <a:custGeom>
              <a:avLst/>
              <a:gdLst>
                <a:gd name="T0" fmla="*/ 497 w 808"/>
                <a:gd name="T1" fmla="*/ 0 h 1074"/>
                <a:gd name="T2" fmla="*/ 497 w 808"/>
                <a:gd name="T3" fmla="*/ 0 h 1074"/>
                <a:gd name="T4" fmla="*/ 539 w 808"/>
                <a:gd name="T5" fmla="*/ 3 h 1074"/>
                <a:gd name="T6" fmla="*/ 579 w 808"/>
                <a:gd name="T7" fmla="*/ 11 h 1074"/>
                <a:gd name="T8" fmla="*/ 618 w 808"/>
                <a:gd name="T9" fmla="*/ 25 h 1074"/>
                <a:gd name="T10" fmla="*/ 654 w 808"/>
                <a:gd name="T11" fmla="*/ 43 h 1074"/>
                <a:gd name="T12" fmla="*/ 687 w 808"/>
                <a:gd name="T13" fmla="*/ 65 h 1074"/>
                <a:gd name="T14" fmla="*/ 716 w 808"/>
                <a:gd name="T15" fmla="*/ 91 h 1074"/>
                <a:gd name="T16" fmla="*/ 743 w 808"/>
                <a:gd name="T17" fmla="*/ 121 h 1074"/>
                <a:gd name="T18" fmla="*/ 765 w 808"/>
                <a:gd name="T19" fmla="*/ 153 h 1074"/>
                <a:gd name="T20" fmla="*/ 783 w 808"/>
                <a:gd name="T21" fmla="*/ 189 h 1074"/>
                <a:gd name="T22" fmla="*/ 796 w 808"/>
                <a:gd name="T23" fmla="*/ 228 h 1074"/>
                <a:gd name="T24" fmla="*/ 805 w 808"/>
                <a:gd name="T25" fmla="*/ 268 h 1074"/>
                <a:gd name="T26" fmla="*/ 808 w 808"/>
                <a:gd name="T27" fmla="*/ 310 h 1074"/>
                <a:gd name="T28" fmla="*/ 805 w 808"/>
                <a:gd name="T29" fmla="*/ 352 h 1074"/>
                <a:gd name="T30" fmla="*/ 796 w 808"/>
                <a:gd name="T31" fmla="*/ 392 h 1074"/>
                <a:gd name="T32" fmla="*/ 783 w 808"/>
                <a:gd name="T33" fmla="*/ 431 h 1074"/>
                <a:gd name="T34" fmla="*/ 765 w 808"/>
                <a:gd name="T35" fmla="*/ 467 h 1074"/>
                <a:gd name="T36" fmla="*/ 743 w 808"/>
                <a:gd name="T37" fmla="*/ 500 h 1074"/>
                <a:gd name="T38" fmla="*/ 716 w 808"/>
                <a:gd name="T39" fmla="*/ 529 h 1074"/>
                <a:gd name="T40" fmla="*/ 687 w 808"/>
                <a:gd name="T41" fmla="*/ 555 h 1074"/>
                <a:gd name="T42" fmla="*/ 654 w 808"/>
                <a:gd name="T43" fmla="*/ 577 h 1074"/>
                <a:gd name="T44" fmla="*/ 618 w 808"/>
                <a:gd name="T45" fmla="*/ 595 h 1074"/>
                <a:gd name="T46" fmla="*/ 579 w 808"/>
                <a:gd name="T47" fmla="*/ 609 h 1074"/>
                <a:gd name="T48" fmla="*/ 539 w 808"/>
                <a:gd name="T49" fmla="*/ 617 h 1074"/>
                <a:gd name="T50" fmla="*/ 497 w 808"/>
                <a:gd name="T51" fmla="*/ 621 h 1074"/>
                <a:gd name="T52" fmla="*/ 468 w 808"/>
                <a:gd name="T53" fmla="*/ 618 h 1074"/>
                <a:gd name="T54" fmla="*/ 440 w 808"/>
                <a:gd name="T55" fmla="*/ 613 h 1074"/>
                <a:gd name="T56" fmla="*/ 411 w 808"/>
                <a:gd name="T57" fmla="*/ 607 h 1074"/>
                <a:gd name="T58" fmla="*/ 134 w 808"/>
                <a:gd name="T59" fmla="*/ 1074 h 1074"/>
                <a:gd name="T60" fmla="*/ 91 w 808"/>
                <a:gd name="T61" fmla="*/ 1044 h 1074"/>
                <a:gd name="T62" fmla="*/ 47 w 808"/>
                <a:gd name="T63" fmla="*/ 1017 h 1074"/>
                <a:gd name="T64" fmla="*/ 0 w 808"/>
                <a:gd name="T65" fmla="*/ 994 h 1074"/>
                <a:gd name="T66" fmla="*/ 276 w 808"/>
                <a:gd name="T67" fmla="*/ 528 h 1074"/>
                <a:gd name="T68" fmla="*/ 251 w 808"/>
                <a:gd name="T69" fmla="*/ 499 h 1074"/>
                <a:gd name="T70" fmla="*/ 229 w 808"/>
                <a:gd name="T71" fmla="*/ 466 h 1074"/>
                <a:gd name="T72" fmla="*/ 211 w 808"/>
                <a:gd name="T73" fmla="*/ 430 h 1074"/>
                <a:gd name="T74" fmla="*/ 199 w 808"/>
                <a:gd name="T75" fmla="*/ 392 h 1074"/>
                <a:gd name="T76" fmla="*/ 190 w 808"/>
                <a:gd name="T77" fmla="*/ 352 h 1074"/>
                <a:gd name="T78" fmla="*/ 187 w 808"/>
                <a:gd name="T79" fmla="*/ 310 h 1074"/>
                <a:gd name="T80" fmla="*/ 190 w 808"/>
                <a:gd name="T81" fmla="*/ 268 h 1074"/>
                <a:gd name="T82" fmla="*/ 199 w 808"/>
                <a:gd name="T83" fmla="*/ 227 h 1074"/>
                <a:gd name="T84" fmla="*/ 211 w 808"/>
                <a:gd name="T85" fmla="*/ 189 h 1074"/>
                <a:gd name="T86" fmla="*/ 229 w 808"/>
                <a:gd name="T87" fmla="*/ 153 h 1074"/>
                <a:gd name="T88" fmla="*/ 252 w 808"/>
                <a:gd name="T89" fmla="*/ 121 h 1074"/>
                <a:gd name="T90" fmla="*/ 278 w 808"/>
                <a:gd name="T91" fmla="*/ 91 h 1074"/>
                <a:gd name="T92" fmla="*/ 308 w 808"/>
                <a:gd name="T93" fmla="*/ 65 h 1074"/>
                <a:gd name="T94" fmla="*/ 341 w 808"/>
                <a:gd name="T95" fmla="*/ 43 h 1074"/>
                <a:gd name="T96" fmla="*/ 376 w 808"/>
                <a:gd name="T97" fmla="*/ 25 h 1074"/>
                <a:gd name="T98" fmla="*/ 414 w 808"/>
                <a:gd name="T99" fmla="*/ 11 h 1074"/>
                <a:gd name="T100" fmla="*/ 455 w 808"/>
                <a:gd name="T101" fmla="*/ 3 h 1074"/>
                <a:gd name="T102" fmla="*/ 497 w 808"/>
                <a:gd name="T103" fmla="*/ 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08" h="1074">
                  <a:moveTo>
                    <a:pt x="497" y="0"/>
                  </a:moveTo>
                  <a:lnTo>
                    <a:pt x="497" y="0"/>
                  </a:lnTo>
                  <a:lnTo>
                    <a:pt x="539" y="3"/>
                  </a:lnTo>
                  <a:lnTo>
                    <a:pt x="579" y="11"/>
                  </a:lnTo>
                  <a:lnTo>
                    <a:pt x="618" y="25"/>
                  </a:lnTo>
                  <a:lnTo>
                    <a:pt x="654" y="43"/>
                  </a:lnTo>
                  <a:lnTo>
                    <a:pt x="687" y="65"/>
                  </a:lnTo>
                  <a:lnTo>
                    <a:pt x="716" y="91"/>
                  </a:lnTo>
                  <a:lnTo>
                    <a:pt x="743" y="121"/>
                  </a:lnTo>
                  <a:lnTo>
                    <a:pt x="765" y="153"/>
                  </a:lnTo>
                  <a:lnTo>
                    <a:pt x="783" y="189"/>
                  </a:lnTo>
                  <a:lnTo>
                    <a:pt x="796" y="228"/>
                  </a:lnTo>
                  <a:lnTo>
                    <a:pt x="805" y="268"/>
                  </a:lnTo>
                  <a:lnTo>
                    <a:pt x="808" y="310"/>
                  </a:lnTo>
                  <a:lnTo>
                    <a:pt x="805" y="352"/>
                  </a:lnTo>
                  <a:lnTo>
                    <a:pt x="796" y="392"/>
                  </a:lnTo>
                  <a:lnTo>
                    <a:pt x="783" y="431"/>
                  </a:lnTo>
                  <a:lnTo>
                    <a:pt x="765" y="467"/>
                  </a:lnTo>
                  <a:lnTo>
                    <a:pt x="743" y="500"/>
                  </a:lnTo>
                  <a:lnTo>
                    <a:pt x="716" y="529"/>
                  </a:lnTo>
                  <a:lnTo>
                    <a:pt x="687" y="555"/>
                  </a:lnTo>
                  <a:lnTo>
                    <a:pt x="654" y="577"/>
                  </a:lnTo>
                  <a:lnTo>
                    <a:pt x="618" y="595"/>
                  </a:lnTo>
                  <a:lnTo>
                    <a:pt x="579" y="609"/>
                  </a:lnTo>
                  <a:lnTo>
                    <a:pt x="539" y="617"/>
                  </a:lnTo>
                  <a:lnTo>
                    <a:pt x="497" y="621"/>
                  </a:lnTo>
                  <a:lnTo>
                    <a:pt x="468" y="618"/>
                  </a:lnTo>
                  <a:lnTo>
                    <a:pt x="440" y="613"/>
                  </a:lnTo>
                  <a:lnTo>
                    <a:pt x="411" y="607"/>
                  </a:lnTo>
                  <a:lnTo>
                    <a:pt x="134" y="1074"/>
                  </a:lnTo>
                  <a:lnTo>
                    <a:pt x="91" y="1044"/>
                  </a:lnTo>
                  <a:lnTo>
                    <a:pt x="47" y="1017"/>
                  </a:lnTo>
                  <a:lnTo>
                    <a:pt x="0" y="994"/>
                  </a:lnTo>
                  <a:lnTo>
                    <a:pt x="276" y="528"/>
                  </a:lnTo>
                  <a:lnTo>
                    <a:pt x="251" y="499"/>
                  </a:lnTo>
                  <a:lnTo>
                    <a:pt x="229" y="466"/>
                  </a:lnTo>
                  <a:lnTo>
                    <a:pt x="211" y="430"/>
                  </a:lnTo>
                  <a:lnTo>
                    <a:pt x="199" y="392"/>
                  </a:lnTo>
                  <a:lnTo>
                    <a:pt x="190" y="352"/>
                  </a:lnTo>
                  <a:lnTo>
                    <a:pt x="187" y="310"/>
                  </a:lnTo>
                  <a:lnTo>
                    <a:pt x="190" y="268"/>
                  </a:lnTo>
                  <a:lnTo>
                    <a:pt x="199" y="227"/>
                  </a:lnTo>
                  <a:lnTo>
                    <a:pt x="211" y="189"/>
                  </a:lnTo>
                  <a:lnTo>
                    <a:pt x="229" y="153"/>
                  </a:lnTo>
                  <a:lnTo>
                    <a:pt x="252" y="121"/>
                  </a:lnTo>
                  <a:lnTo>
                    <a:pt x="278" y="91"/>
                  </a:lnTo>
                  <a:lnTo>
                    <a:pt x="308" y="65"/>
                  </a:lnTo>
                  <a:lnTo>
                    <a:pt x="341" y="43"/>
                  </a:lnTo>
                  <a:lnTo>
                    <a:pt x="376" y="25"/>
                  </a:lnTo>
                  <a:lnTo>
                    <a:pt x="414" y="11"/>
                  </a:lnTo>
                  <a:lnTo>
                    <a:pt x="455" y="3"/>
                  </a:lnTo>
                  <a:lnTo>
                    <a:pt x="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177"/>
            <p:cNvSpPr>
              <a:spLocks/>
            </p:cNvSpPr>
            <p:nvPr/>
          </p:nvSpPr>
          <p:spPr bwMode="auto">
            <a:xfrm>
              <a:off x="1373188" y="2665413"/>
              <a:ext cx="198438" cy="122238"/>
            </a:xfrm>
            <a:custGeom>
              <a:avLst/>
              <a:gdLst>
                <a:gd name="T0" fmla="*/ 691 w 1000"/>
                <a:gd name="T1" fmla="*/ 0 h 620"/>
                <a:gd name="T2" fmla="*/ 733 w 1000"/>
                <a:gd name="T3" fmla="*/ 3 h 620"/>
                <a:gd name="T4" fmla="*/ 773 w 1000"/>
                <a:gd name="T5" fmla="*/ 11 h 620"/>
                <a:gd name="T6" fmla="*/ 811 w 1000"/>
                <a:gd name="T7" fmla="*/ 25 h 620"/>
                <a:gd name="T8" fmla="*/ 847 w 1000"/>
                <a:gd name="T9" fmla="*/ 42 h 620"/>
                <a:gd name="T10" fmla="*/ 880 w 1000"/>
                <a:gd name="T11" fmla="*/ 65 h 620"/>
                <a:gd name="T12" fmla="*/ 910 w 1000"/>
                <a:gd name="T13" fmla="*/ 91 h 620"/>
                <a:gd name="T14" fmla="*/ 936 w 1000"/>
                <a:gd name="T15" fmla="*/ 120 h 620"/>
                <a:gd name="T16" fmla="*/ 958 w 1000"/>
                <a:gd name="T17" fmla="*/ 154 h 620"/>
                <a:gd name="T18" fmla="*/ 976 w 1000"/>
                <a:gd name="T19" fmla="*/ 190 h 620"/>
                <a:gd name="T20" fmla="*/ 990 w 1000"/>
                <a:gd name="T21" fmla="*/ 228 h 620"/>
                <a:gd name="T22" fmla="*/ 998 w 1000"/>
                <a:gd name="T23" fmla="*/ 268 h 620"/>
                <a:gd name="T24" fmla="*/ 1000 w 1000"/>
                <a:gd name="T25" fmla="*/ 310 h 620"/>
                <a:gd name="T26" fmla="*/ 998 w 1000"/>
                <a:gd name="T27" fmla="*/ 352 h 620"/>
                <a:gd name="T28" fmla="*/ 990 w 1000"/>
                <a:gd name="T29" fmla="*/ 393 h 620"/>
                <a:gd name="T30" fmla="*/ 976 w 1000"/>
                <a:gd name="T31" fmla="*/ 431 h 620"/>
                <a:gd name="T32" fmla="*/ 958 w 1000"/>
                <a:gd name="T33" fmla="*/ 466 h 620"/>
                <a:gd name="T34" fmla="*/ 936 w 1000"/>
                <a:gd name="T35" fmla="*/ 499 h 620"/>
                <a:gd name="T36" fmla="*/ 910 w 1000"/>
                <a:gd name="T37" fmla="*/ 530 h 620"/>
                <a:gd name="T38" fmla="*/ 880 w 1000"/>
                <a:gd name="T39" fmla="*/ 555 h 620"/>
                <a:gd name="T40" fmla="*/ 847 w 1000"/>
                <a:gd name="T41" fmla="*/ 578 h 620"/>
                <a:gd name="T42" fmla="*/ 811 w 1000"/>
                <a:gd name="T43" fmla="*/ 596 h 620"/>
                <a:gd name="T44" fmla="*/ 773 w 1000"/>
                <a:gd name="T45" fmla="*/ 609 h 620"/>
                <a:gd name="T46" fmla="*/ 733 w 1000"/>
                <a:gd name="T47" fmla="*/ 617 h 620"/>
                <a:gd name="T48" fmla="*/ 691 w 1000"/>
                <a:gd name="T49" fmla="*/ 620 h 620"/>
                <a:gd name="T50" fmla="*/ 649 w 1000"/>
                <a:gd name="T51" fmla="*/ 617 h 620"/>
                <a:gd name="T52" fmla="*/ 610 w 1000"/>
                <a:gd name="T53" fmla="*/ 610 h 620"/>
                <a:gd name="T54" fmla="*/ 572 w 1000"/>
                <a:gd name="T55" fmla="*/ 596 h 620"/>
                <a:gd name="T56" fmla="*/ 536 w 1000"/>
                <a:gd name="T57" fmla="*/ 579 h 620"/>
                <a:gd name="T58" fmla="*/ 504 w 1000"/>
                <a:gd name="T59" fmla="*/ 557 h 620"/>
                <a:gd name="T60" fmla="*/ 474 w 1000"/>
                <a:gd name="T61" fmla="*/ 532 h 620"/>
                <a:gd name="T62" fmla="*/ 449 w 1000"/>
                <a:gd name="T63" fmla="*/ 502 h 620"/>
                <a:gd name="T64" fmla="*/ 426 w 1000"/>
                <a:gd name="T65" fmla="*/ 470 h 620"/>
                <a:gd name="T66" fmla="*/ 408 w 1000"/>
                <a:gd name="T67" fmla="*/ 435 h 620"/>
                <a:gd name="T68" fmla="*/ 394 w 1000"/>
                <a:gd name="T69" fmla="*/ 398 h 620"/>
                <a:gd name="T70" fmla="*/ 386 w 1000"/>
                <a:gd name="T71" fmla="*/ 358 h 620"/>
                <a:gd name="T72" fmla="*/ 0 w 1000"/>
                <a:gd name="T73" fmla="*/ 320 h 620"/>
                <a:gd name="T74" fmla="*/ 8 w 1000"/>
                <a:gd name="T75" fmla="*/ 273 h 620"/>
                <a:gd name="T76" fmla="*/ 13 w 1000"/>
                <a:gd name="T77" fmla="*/ 223 h 620"/>
                <a:gd name="T78" fmla="*/ 15 w 1000"/>
                <a:gd name="T79" fmla="*/ 173 h 620"/>
                <a:gd name="T80" fmla="*/ 14 w 1000"/>
                <a:gd name="T81" fmla="*/ 165 h 620"/>
                <a:gd name="T82" fmla="*/ 400 w 1000"/>
                <a:gd name="T83" fmla="*/ 203 h 620"/>
                <a:gd name="T84" fmla="*/ 417 w 1000"/>
                <a:gd name="T85" fmla="*/ 165 h 620"/>
                <a:gd name="T86" fmla="*/ 439 w 1000"/>
                <a:gd name="T87" fmla="*/ 130 h 620"/>
                <a:gd name="T88" fmla="*/ 466 w 1000"/>
                <a:gd name="T89" fmla="*/ 98 h 620"/>
                <a:gd name="T90" fmla="*/ 496 w 1000"/>
                <a:gd name="T91" fmla="*/ 70 h 620"/>
                <a:gd name="T92" fmla="*/ 529 w 1000"/>
                <a:gd name="T93" fmla="*/ 46 h 620"/>
                <a:gd name="T94" fmla="*/ 566 w 1000"/>
                <a:gd name="T95" fmla="*/ 27 h 620"/>
                <a:gd name="T96" fmla="*/ 606 w 1000"/>
                <a:gd name="T97" fmla="*/ 12 h 620"/>
                <a:gd name="T98" fmla="*/ 647 w 1000"/>
                <a:gd name="T99" fmla="*/ 4 h 620"/>
                <a:gd name="T100" fmla="*/ 691 w 1000"/>
                <a:gd name="T101" fmla="*/ 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0" h="620">
                  <a:moveTo>
                    <a:pt x="691" y="0"/>
                  </a:moveTo>
                  <a:lnTo>
                    <a:pt x="733" y="3"/>
                  </a:lnTo>
                  <a:lnTo>
                    <a:pt x="773" y="11"/>
                  </a:lnTo>
                  <a:lnTo>
                    <a:pt x="811" y="25"/>
                  </a:lnTo>
                  <a:lnTo>
                    <a:pt x="847" y="42"/>
                  </a:lnTo>
                  <a:lnTo>
                    <a:pt x="880" y="65"/>
                  </a:lnTo>
                  <a:lnTo>
                    <a:pt x="910" y="91"/>
                  </a:lnTo>
                  <a:lnTo>
                    <a:pt x="936" y="120"/>
                  </a:lnTo>
                  <a:lnTo>
                    <a:pt x="958" y="154"/>
                  </a:lnTo>
                  <a:lnTo>
                    <a:pt x="976" y="190"/>
                  </a:lnTo>
                  <a:lnTo>
                    <a:pt x="990" y="228"/>
                  </a:lnTo>
                  <a:lnTo>
                    <a:pt x="998" y="268"/>
                  </a:lnTo>
                  <a:lnTo>
                    <a:pt x="1000" y="310"/>
                  </a:lnTo>
                  <a:lnTo>
                    <a:pt x="998" y="352"/>
                  </a:lnTo>
                  <a:lnTo>
                    <a:pt x="990" y="393"/>
                  </a:lnTo>
                  <a:lnTo>
                    <a:pt x="976" y="431"/>
                  </a:lnTo>
                  <a:lnTo>
                    <a:pt x="958" y="466"/>
                  </a:lnTo>
                  <a:lnTo>
                    <a:pt x="936" y="499"/>
                  </a:lnTo>
                  <a:lnTo>
                    <a:pt x="910" y="530"/>
                  </a:lnTo>
                  <a:lnTo>
                    <a:pt x="880" y="555"/>
                  </a:lnTo>
                  <a:lnTo>
                    <a:pt x="847" y="578"/>
                  </a:lnTo>
                  <a:lnTo>
                    <a:pt x="811" y="596"/>
                  </a:lnTo>
                  <a:lnTo>
                    <a:pt x="773" y="609"/>
                  </a:lnTo>
                  <a:lnTo>
                    <a:pt x="733" y="617"/>
                  </a:lnTo>
                  <a:lnTo>
                    <a:pt x="691" y="620"/>
                  </a:lnTo>
                  <a:lnTo>
                    <a:pt x="649" y="617"/>
                  </a:lnTo>
                  <a:lnTo>
                    <a:pt x="610" y="610"/>
                  </a:lnTo>
                  <a:lnTo>
                    <a:pt x="572" y="596"/>
                  </a:lnTo>
                  <a:lnTo>
                    <a:pt x="536" y="579"/>
                  </a:lnTo>
                  <a:lnTo>
                    <a:pt x="504" y="557"/>
                  </a:lnTo>
                  <a:lnTo>
                    <a:pt x="474" y="532"/>
                  </a:lnTo>
                  <a:lnTo>
                    <a:pt x="449" y="502"/>
                  </a:lnTo>
                  <a:lnTo>
                    <a:pt x="426" y="470"/>
                  </a:lnTo>
                  <a:lnTo>
                    <a:pt x="408" y="435"/>
                  </a:lnTo>
                  <a:lnTo>
                    <a:pt x="394" y="398"/>
                  </a:lnTo>
                  <a:lnTo>
                    <a:pt x="386" y="358"/>
                  </a:lnTo>
                  <a:lnTo>
                    <a:pt x="0" y="320"/>
                  </a:lnTo>
                  <a:lnTo>
                    <a:pt x="8" y="273"/>
                  </a:lnTo>
                  <a:lnTo>
                    <a:pt x="13" y="223"/>
                  </a:lnTo>
                  <a:lnTo>
                    <a:pt x="15" y="173"/>
                  </a:lnTo>
                  <a:lnTo>
                    <a:pt x="14" y="165"/>
                  </a:lnTo>
                  <a:lnTo>
                    <a:pt x="400" y="203"/>
                  </a:lnTo>
                  <a:lnTo>
                    <a:pt x="417" y="165"/>
                  </a:lnTo>
                  <a:lnTo>
                    <a:pt x="439" y="130"/>
                  </a:lnTo>
                  <a:lnTo>
                    <a:pt x="466" y="98"/>
                  </a:lnTo>
                  <a:lnTo>
                    <a:pt x="496" y="70"/>
                  </a:lnTo>
                  <a:lnTo>
                    <a:pt x="529" y="46"/>
                  </a:lnTo>
                  <a:lnTo>
                    <a:pt x="566" y="27"/>
                  </a:lnTo>
                  <a:lnTo>
                    <a:pt x="606" y="12"/>
                  </a:lnTo>
                  <a:lnTo>
                    <a:pt x="647" y="4"/>
                  </a:lnTo>
                  <a:lnTo>
                    <a:pt x="6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178"/>
            <p:cNvSpPr>
              <a:spLocks/>
            </p:cNvSpPr>
            <p:nvPr/>
          </p:nvSpPr>
          <p:spPr bwMode="auto">
            <a:xfrm>
              <a:off x="1236663" y="2832100"/>
              <a:ext cx="122238" cy="196850"/>
            </a:xfrm>
            <a:custGeom>
              <a:avLst/>
              <a:gdLst>
                <a:gd name="T0" fmla="*/ 234 w 621"/>
                <a:gd name="T1" fmla="*/ 0 h 995"/>
                <a:gd name="T2" fmla="*/ 320 w 621"/>
                <a:gd name="T3" fmla="*/ 377 h 995"/>
                <a:gd name="T4" fmla="*/ 364 w 621"/>
                <a:gd name="T5" fmla="*/ 381 h 995"/>
                <a:gd name="T6" fmla="*/ 407 w 621"/>
                <a:gd name="T7" fmla="*/ 391 h 995"/>
                <a:gd name="T8" fmla="*/ 447 w 621"/>
                <a:gd name="T9" fmla="*/ 408 h 995"/>
                <a:gd name="T10" fmla="*/ 484 w 621"/>
                <a:gd name="T11" fmla="*/ 429 h 995"/>
                <a:gd name="T12" fmla="*/ 518 w 621"/>
                <a:gd name="T13" fmla="*/ 456 h 995"/>
                <a:gd name="T14" fmla="*/ 547 w 621"/>
                <a:gd name="T15" fmla="*/ 486 h 995"/>
                <a:gd name="T16" fmla="*/ 573 w 621"/>
                <a:gd name="T17" fmla="*/ 520 h 995"/>
                <a:gd name="T18" fmla="*/ 593 w 621"/>
                <a:gd name="T19" fmla="*/ 558 h 995"/>
                <a:gd name="T20" fmla="*/ 608 w 621"/>
                <a:gd name="T21" fmla="*/ 598 h 995"/>
                <a:gd name="T22" fmla="*/ 618 w 621"/>
                <a:gd name="T23" fmla="*/ 641 h 995"/>
                <a:gd name="T24" fmla="*/ 621 w 621"/>
                <a:gd name="T25" fmla="*/ 686 h 995"/>
                <a:gd name="T26" fmla="*/ 618 w 621"/>
                <a:gd name="T27" fmla="*/ 728 h 995"/>
                <a:gd name="T28" fmla="*/ 609 w 621"/>
                <a:gd name="T29" fmla="*/ 768 h 995"/>
                <a:gd name="T30" fmla="*/ 597 w 621"/>
                <a:gd name="T31" fmla="*/ 806 h 995"/>
                <a:gd name="T32" fmla="*/ 578 w 621"/>
                <a:gd name="T33" fmla="*/ 842 h 995"/>
                <a:gd name="T34" fmla="*/ 556 w 621"/>
                <a:gd name="T35" fmla="*/ 875 h 995"/>
                <a:gd name="T36" fmla="*/ 529 w 621"/>
                <a:gd name="T37" fmla="*/ 905 h 995"/>
                <a:gd name="T38" fmla="*/ 500 w 621"/>
                <a:gd name="T39" fmla="*/ 931 h 995"/>
                <a:gd name="T40" fmla="*/ 467 w 621"/>
                <a:gd name="T41" fmla="*/ 953 h 995"/>
                <a:gd name="T42" fmla="*/ 432 w 621"/>
                <a:gd name="T43" fmla="*/ 971 h 995"/>
                <a:gd name="T44" fmla="*/ 393 w 621"/>
                <a:gd name="T45" fmla="*/ 985 h 995"/>
                <a:gd name="T46" fmla="*/ 353 w 621"/>
                <a:gd name="T47" fmla="*/ 993 h 995"/>
                <a:gd name="T48" fmla="*/ 311 w 621"/>
                <a:gd name="T49" fmla="*/ 995 h 995"/>
                <a:gd name="T50" fmla="*/ 269 w 621"/>
                <a:gd name="T51" fmla="*/ 993 h 995"/>
                <a:gd name="T52" fmla="*/ 229 w 621"/>
                <a:gd name="T53" fmla="*/ 985 h 995"/>
                <a:gd name="T54" fmla="*/ 190 w 621"/>
                <a:gd name="T55" fmla="*/ 971 h 995"/>
                <a:gd name="T56" fmla="*/ 154 w 621"/>
                <a:gd name="T57" fmla="*/ 953 h 995"/>
                <a:gd name="T58" fmla="*/ 121 w 621"/>
                <a:gd name="T59" fmla="*/ 931 h 995"/>
                <a:gd name="T60" fmla="*/ 92 w 621"/>
                <a:gd name="T61" fmla="*/ 905 h 995"/>
                <a:gd name="T62" fmla="*/ 65 w 621"/>
                <a:gd name="T63" fmla="*/ 875 h 995"/>
                <a:gd name="T64" fmla="*/ 43 w 621"/>
                <a:gd name="T65" fmla="*/ 842 h 995"/>
                <a:gd name="T66" fmla="*/ 26 w 621"/>
                <a:gd name="T67" fmla="*/ 806 h 995"/>
                <a:gd name="T68" fmla="*/ 12 w 621"/>
                <a:gd name="T69" fmla="*/ 768 h 995"/>
                <a:gd name="T70" fmla="*/ 3 w 621"/>
                <a:gd name="T71" fmla="*/ 728 h 995"/>
                <a:gd name="T72" fmla="*/ 0 w 621"/>
                <a:gd name="T73" fmla="*/ 686 h 995"/>
                <a:gd name="T74" fmla="*/ 3 w 621"/>
                <a:gd name="T75" fmla="*/ 642 h 995"/>
                <a:gd name="T76" fmla="*/ 13 w 621"/>
                <a:gd name="T77" fmla="*/ 600 h 995"/>
                <a:gd name="T78" fmla="*/ 28 w 621"/>
                <a:gd name="T79" fmla="*/ 561 h 995"/>
                <a:gd name="T80" fmla="*/ 48 w 621"/>
                <a:gd name="T81" fmla="*/ 524 h 995"/>
                <a:gd name="T82" fmla="*/ 72 w 621"/>
                <a:gd name="T83" fmla="*/ 490 h 995"/>
                <a:gd name="T84" fmla="*/ 100 w 621"/>
                <a:gd name="T85" fmla="*/ 460 h 995"/>
                <a:gd name="T86" fmla="*/ 133 w 621"/>
                <a:gd name="T87" fmla="*/ 434 h 995"/>
                <a:gd name="T88" fmla="*/ 169 w 621"/>
                <a:gd name="T89" fmla="*/ 413 h 995"/>
                <a:gd name="T90" fmla="*/ 81 w 621"/>
                <a:gd name="T91" fmla="*/ 35 h 995"/>
                <a:gd name="T92" fmla="*/ 134 w 621"/>
                <a:gd name="T93" fmla="*/ 26 h 995"/>
                <a:gd name="T94" fmla="*/ 184 w 621"/>
                <a:gd name="T95" fmla="*/ 15 h 995"/>
                <a:gd name="T96" fmla="*/ 234 w 621"/>
                <a:gd name="T97" fmla="*/ 0 h 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1" h="995">
                  <a:moveTo>
                    <a:pt x="234" y="0"/>
                  </a:moveTo>
                  <a:lnTo>
                    <a:pt x="320" y="377"/>
                  </a:lnTo>
                  <a:lnTo>
                    <a:pt x="364" y="381"/>
                  </a:lnTo>
                  <a:lnTo>
                    <a:pt x="407" y="391"/>
                  </a:lnTo>
                  <a:lnTo>
                    <a:pt x="447" y="408"/>
                  </a:lnTo>
                  <a:lnTo>
                    <a:pt x="484" y="429"/>
                  </a:lnTo>
                  <a:lnTo>
                    <a:pt x="518" y="456"/>
                  </a:lnTo>
                  <a:lnTo>
                    <a:pt x="547" y="486"/>
                  </a:lnTo>
                  <a:lnTo>
                    <a:pt x="573" y="520"/>
                  </a:lnTo>
                  <a:lnTo>
                    <a:pt x="593" y="558"/>
                  </a:lnTo>
                  <a:lnTo>
                    <a:pt x="608" y="598"/>
                  </a:lnTo>
                  <a:lnTo>
                    <a:pt x="618" y="641"/>
                  </a:lnTo>
                  <a:lnTo>
                    <a:pt x="621" y="686"/>
                  </a:lnTo>
                  <a:lnTo>
                    <a:pt x="618" y="728"/>
                  </a:lnTo>
                  <a:lnTo>
                    <a:pt x="609" y="768"/>
                  </a:lnTo>
                  <a:lnTo>
                    <a:pt x="597" y="806"/>
                  </a:lnTo>
                  <a:lnTo>
                    <a:pt x="578" y="842"/>
                  </a:lnTo>
                  <a:lnTo>
                    <a:pt x="556" y="875"/>
                  </a:lnTo>
                  <a:lnTo>
                    <a:pt x="529" y="905"/>
                  </a:lnTo>
                  <a:lnTo>
                    <a:pt x="500" y="931"/>
                  </a:lnTo>
                  <a:lnTo>
                    <a:pt x="467" y="953"/>
                  </a:lnTo>
                  <a:lnTo>
                    <a:pt x="432" y="971"/>
                  </a:lnTo>
                  <a:lnTo>
                    <a:pt x="393" y="985"/>
                  </a:lnTo>
                  <a:lnTo>
                    <a:pt x="353" y="993"/>
                  </a:lnTo>
                  <a:lnTo>
                    <a:pt x="311" y="995"/>
                  </a:lnTo>
                  <a:lnTo>
                    <a:pt x="269" y="993"/>
                  </a:lnTo>
                  <a:lnTo>
                    <a:pt x="229" y="985"/>
                  </a:lnTo>
                  <a:lnTo>
                    <a:pt x="190" y="971"/>
                  </a:lnTo>
                  <a:lnTo>
                    <a:pt x="154" y="953"/>
                  </a:lnTo>
                  <a:lnTo>
                    <a:pt x="121" y="931"/>
                  </a:lnTo>
                  <a:lnTo>
                    <a:pt x="92" y="905"/>
                  </a:lnTo>
                  <a:lnTo>
                    <a:pt x="65" y="875"/>
                  </a:lnTo>
                  <a:lnTo>
                    <a:pt x="43" y="842"/>
                  </a:lnTo>
                  <a:lnTo>
                    <a:pt x="26" y="806"/>
                  </a:lnTo>
                  <a:lnTo>
                    <a:pt x="12" y="768"/>
                  </a:lnTo>
                  <a:lnTo>
                    <a:pt x="3" y="728"/>
                  </a:lnTo>
                  <a:lnTo>
                    <a:pt x="0" y="686"/>
                  </a:lnTo>
                  <a:lnTo>
                    <a:pt x="3" y="642"/>
                  </a:lnTo>
                  <a:lnTo>
                    <a:pt x="13" y="600"/>
                  </a:lnTo>
                  <a:lnTo>
                    <a:pt x="28" y="561"/>
                  </a:lnTo>
                  <a:lnTo>
                    <a:pt x="48" y="524"/>
                  </a:lnTo>
                  <a:lnTo>
                    <a:pt x="72" y="490"/>
                  </a:lnTo>
                  <a:lnTo>
                    <a:pt x="100" y="460"/>
                  </a:lnTo>
                  <a:lnTo>
                    <a:pt x="133" y="434"/>
                  </a:lnTo>
                  <a:lnTo>
                    <a:pt x="169" y="413"/>
                  </a:lnTo>
                  <a:lnTo>
                    <a:pt x="81" y="35"/>
                  </a:lnTo>
                  <a:lnTo>
                    <a:pt x="134" y="26"/>
                  </a:lnTo>
                  <a:lnTo>
                    <a:pt x="184" y="15"/>
                  </a:lnTo>
                  <a:lnTo>
                    <a:pt x="2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179"/>
            <p:cNvSpPr>
              <a:spLocks/>
            </p:cNvSpPr>
            <p:nvPr/>
          </p:nvSpPr>
          <p:spPr bwMode="auto">
            <a:xfrm>
              <a:off x="890588" y="2728913"/>
              <a:ext cx="217488" cy="127000"/>
            </a:xfrm>
            <a:custGeom>
              <a:avLst/>
              <a:gdLst>
                <a:gd name="T0" fmla="*/ 1049 w 1099"/>
                <a:gd name="T1" fmla="*/ 0 h 640"/>
                <a:gd name="T2" fmla="*/ 1063 w 1099"/>
                <a:gd name="T3" fmla="*/ 51 h 640"/>
                <a:gd name="T4" fmla="*/ 1079 w 1099"/>
                <a:gd name="T5" fmla="*/ 100 h 640"/>
                <a:gd name="T6" fmla="*/ 1099 w 1099"/>
                <a:gd name="T7" fmla="*/ 148 h 640"/>
                <a:gd name="T8" fmla="*/ 618 w 1099"/>
                <a:gd name="T9" fmla="*/ 310 h 640"/>
                <a:gd name="T10" fmla="*/ 619 w 1099"/>
                <a:gd name="T11" fmla="*/ 319 h 640"/>
                <a:gd name="T12" fmla="*/ 620 w 1099"/>
                <a:gd name="T13" fmla="*/ 330 h 640"/>
                <a:gd name="T14" fmla="*/ 618 w 1099"/>
                <a:gd name="T15" fmla="*/ 372 h 640"/>
                <a:gd name="T16" fmla="*/ 609 w 1099"/>
                <a:gd name="T17" fmla="*/ 413 h 640"/>
                <a:gd name="T18" fmla="*/ 596 w 1099"/>
                <a:gd name="T19" fmla="*/ 451 h 640"/>
                <a:gd name="T20" fmla="*/ 578 w 1099"/>
                <a:gd name="T21" fmla="*/ 486 h 640"/>
                <a:gd name="T22" fmla="*/ 556 w 1099"/>
                <a:gd name="T23" fmla="*/ 519 h 640"/>
                <a:gd name="T24" fmla="*/ 529 w 1099"/>
                <a:gd name="T25" fmla="*/ 550 h 640"/>
                <a:gd name="T26" fmla="*/ 500 w 1099"/>
                <a:gd name="T27" fmla="*/ 576 h 640"/>
                <a:gd name="T28" fmla="*/ 466 w 1099"/>
                <a:gd name="T29" fmla="*/ 598 h 640"/>
                <a:gd name="T30" fmla="*/ 430 w 1099"/>
                <a:gd name="T31" fmla="*/ 616 h 640"/>
                <a:gd name="T32" fmla="*/ 392 w 1099"/>
                <a:gd name="T33" fmla="*/ 630 h 640"/>
                <a:gd name="T34" fmla="*/ 351 w 1099"/>
                <a:gd name="T35" fmla="*/ 637 h 640"/>
                <a:gd name="T36" fmla="*/ 309 w 1099"/>
                <a:gd name="T37" fmla="*/ 640 h 640"/>
                <a:gd name="T38" fmla="*/ 267 w 1099"/>
                <a:gd name="T39" fmla="*/ 637 h 640"/>
                <a:gd name="T40" fmla="*/ 227 w 1099"/>
                <a:gd name="T41" fmla="*/ 630 h 640"/>
                <a:gd name="T42" fmla="*/ 189 w 1099"/>
                <a:gd name="T43" fmla="*/ 616 h 640"/>
                <a:gd name="T44" fmla="*/ 154 w 1099"/>
                <a:gd name="T45" fmla="*/ 598 h 640"/>
                <a:gd name="T46" fmla="*/ 120 w 1099"/>
                <a:gd name="T47" fmla="*/ 576 h 640"/>
                <a:gd name="T48" fmla="*/ 90 w 1099"/>
                <a:gd name="T49" fmla="*/ 550 h 640"/>
                <a:gd name="T50" fmla="*/ 64 w 1099"/>
                <a:gd name="T51" fmla="*/ 519 h 640"/>
                <a:gd name="T52" fmla="*/ 42 w 1099"/>
                <a:gd name="T53" fmla="*/ 486 h 640"/>
                <a:gd name="T54" fmla="*/ 24 w 1099"/>
                <a:gd name="T55" fmla="*/ 451 h 640"/>
                <a:gd name="T56" fmla="*/ 12 w 1099"/>
                <a:gd name="T57" fmla="*/ 413 h 640"/>
                <a:gd name="T58" fmla="*/ 3 w 1099"/>
                <a:gd name="T59" fmla="*/ 372 h 640"/>
                <a:gd name="T60" fmla="*/ 0 w 1099"/>
                <a:gd name="T61" fmla="*/ 330 h 640"/>
                <a:gd name="T62" fmla="*/ 3 w 1099"/>
                <a:gd name="T63" fmla="*/ 288 h 640"/>
                <a:gd name="T64" fmla="*/ 12 w 1099"/>
                <a:gd name="T65" fmla="*/ 248 h 640"/>
                <a:gd name="T66" fmla="*/ 24 w 1099"/>
                <a:gd name="T67" fmla="*/ 210 h 640"/>
                <a:gd name="T68" fmla="*/ 42 w 1099"/>
                <a:gd name="T69" fmla="*/ 174 h 640"/>
                <a:gd name="T70" fmla="*/ 64 w 1099"/>
                <a:gd name="T71" fmla="*/ 140 h 640"/>
                <a:gd name="T72" fmla="*/ 90 w 1099"/>
                <a:gd name="T73" fmla="*/ 111 h 640"/>
                <a:gd name="T74" fmla="*/ 120 w 1099"/>
                <a:gd name="T75" fmla="*/ 85 h 640"/>
                <a:gd name="T76" fmla="*/ 154 w 1099"/>
                <a:gd name="T77" fmla="*/ 62 h 640"/>
                <a:gd name="T78" fmla="*/ 189 w 1099"/>
                <a:gd name="T79" fmla="*/ 45 h 640"/>
                <a:gd name="T80" fmla="*/ 227 w 1099"/>
                <a:gd name="T81" fmla="*/ 31 h 640"/>
                <a:gd name="T82" fmla="*/ 267 w 1099"/>
                <a:gd name="T83" fmla="*/ 24 h 640"/>
                <a:gd name="T84" fmla="*/ 309 w 1099"/>
                <a:gd name="T85" fmla="*/ 20 h 640"/>
                <a:gd name="T86" fmla="*/ 350 w 1099"/>
                <a:gd name="T87" fmla="*/ 23 h 640"/>
                <a:gd name="T88" fmla="*/ 388 w 1099"/>
                <a:gd name="T89" fmla="*/ 31 h 640"/>
                <a:gd name="T90" fmla="*/ 425 w 1099"/>
                <a:gd name="T91" fmla="*/ 42 h 640"/>
                <a:gd name="T92" fmla="*/ 460 w 1099"/>
                <a:gd name="T93" fmla="*/ 59 h 640"/>
                <a:gd name="T94" fmla="*/ 491 w 1099"/>
                <a:gd name="T95" fmla="*/ 79 h 640"/>
                <a:gd name="T96" fmla="*/ 521 w 1099"/>
                <a:gd name="T97" fmla="*/ 104 h 640"/>
                <a:gd name="T98" fmla="*/ 547 w 1099"/>
                <a:gd name="T99" fmla="*/ 131 h 640"/>
                <a:gd name="T100" fmla="*/ 569 w 1099"/>
                <a:gd name="T101" fmla="*/ 161 h 640"/>
                <a:gd name="T102" fmla="*/ 1049 w 1099"/>
                <a:gd name="T103" fmla="*/ 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99" h="640">
                  <a:moveTo>
                    <a:pt x="1049" y="0"/>
                  </a:moveTo>
                  <a:lnTo>
                    <a:pt x="1063" y="51"/>
                  </a:lnTo>
                  <a:lnTo>
                    <a:pt x="1079" y="100"/>
                  </a:lnTo>
                  <a:lnTo>
                    <a:pt x="1099" y="148"/>
                  </a:lnTo>
                  <a:lnTo>
                    <a:pt x="618" y="310"/>
                  </a:lnTo>
                  <a:lnTo>
                    <a:pt x="619" y="319"/>
                  </a:lnTo>
                  <a:lnTo>
                    <a:pt x="620" y="330"/>
                  </a:lnTo>
                  <a:lnTo>
                    <a:pt x="618" y="372"/>
                  </a:lnTo>
                  <a:lnTo>
                    <a:pt x="609" y="413"/>
                  </a:lnTo>
                  <a:lnTo>
                    <a:pt x="596" y="451"/>
                  </a:lnTo>
                  <a:lnTo>
                    <a:pt x="578" y="486"/>
                  </a:lnTo>
                  <a:lnTo>
                    <a:pt x="556" y="519"/>
                  </a:lnTo>
                  <a:lnTo>
                    <a:pt x="529" y="550"/>
                  </a:lnTo>
                  <a:lnTo>
                    <a:pt x="500" y="576"/>
                  </a:lnTo>
                  <a:lnTo>
                    <a:pt x="466" y="598"/>
                  </a:lnTo>
                  <a:lnTo>
                    <a:pt x="430" y="616"/>
                  </a:lnTo>
                  <a:lnTo>
                    <a:pt x="392" y="630"/>
                  </a:lnTo>
                  <a:lnTo>
                    <a:pt x="351" y="637"/>
                  </a:lnTo>
                  <a:lnTo>
                    <a:pt x="309" y="640"/>
                  </a:lnTo>
                  <a:lnTo>
                    <a:pt x="267" y="637"/>
                  </a:lnTo>
                  <a:lnTo>
                    <a:pt x="227" y="630"/>
                  </a:lnTo>
                  <a:lnTo>
                    <a:pt x="189" y="616"/>
                  </a:lnTo>
                  <a:lnTo>
                    <a:pt x="154" y="598"/>
                  </a:lnTo>
                  <a:lnTo>
                    <a:pt x="120" y="576"/>
                  </a:lnTo>
                  <a:lnTo>
                    <a:pt x="90" y="550"/>
                  </a:lnTo>
                  <a:lnTo>
                    <a:pt x="64" y="519"/>
                  </a:lnTo>
                  <a:lnTo>
                    <a:pt x="42" y="486"/>
                  </a:lnTo>
                  <a:lnTo>
                    <a:pt x="24" y="451"/>
                  </a:lnTo>
                  <a:lnTo>
                    <a:pt x="12" y="413"/>
                  </a:lnTo>
                  <a:lnTo>
                    <a:pt x="3" y="372"/>
                  </a:lnTo>
                  <a:lnTo>
                    <a:pt x="0" y="330"/>
                  </a:lnTo>
                  <a:lnTo>
                    <a:pt x="3" y="288"/>
                  </a:lnTo>
                  <a:lnTo>
                    <a:pt x="12" y="248"/>
                  </a:lnTo>
                  <a:lnTo>
                    <a:pt x="24" y="210"/>
                  </a:lnTo>
                  <a:lnTo>
                    <a:pt x="42" y="174"/>
                  </a:lnTo>
                  <a:lnTo>
                    <a:pt x="64" y="140"/>
                  </a:lnTo>
                  <a:lnTo>
                    <a:pt x="90" y="111"/>
                  </a:lnTo>
                  <a:lnTo>
                    <a:pt x="120" y="85"/>
                  </a:lnTo>
                  <a:lnTo>
                    <a:pt x="154" y="62"/>
                  </a:lnTo>
                  <a:lnTo>
                    <a:pt x="189" y="45"/>
                  </a:lnTo>
                  <a:lnTo>
                    <a:pt x="227" y="31"/>
                  </a:lnTo>
                  <a:lnTo>
                    <a:pt x="267" y="24"/>
                  </a:lnTo>
                  <a:lnTo>
                    <a:pt x="309" y="20"/>
                  </a:lnTo>
                  <a:lnTo>
                    <a:pt x="350" y="23"/>
                  </a:lnTo>
                  <a:lnTo>
                    <a:pt x="388" y="31"/>
                  </a:lnTo>
                  <a:lnTo>
                    <a:pt x="425" y="42"/>
                  </a:lnTo>
                  <a:lnTo>
                    <a:pt x="460" y="59"/>
                  </a:lnTo>
                  <a:lnTo>
                    <a:pt x="491" y="79"/>
                  </a:lnTo>
                  <a:lnTo>
                    <a:pt x="521" y="104"/>
                  </a:lnTo>
                  <a:lnTo>
                    <a:pt x="547" y="131"/>
                  </a:lnTo>
                  <a:lnTo>
                    <a:pt x="569" y="161"/>
                  </a:lnTo>
                  <a:lnTo>
                    <a:pt x="10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180"/>
            <p:cNvSpPr>
              <a:spLocks/>
            </p:cNvSpPr>
            <p:nvPr/>
          </p:nvSpPr>
          <p:spPr bwMode="auto">
            <a:xfrm>
              <a:off x="1130301" y="2593975"/>
              <a:ext cx="211138" cy="211138"/>
            </a:xfrm>
            <a:custGeom>
              <a:avLst/>
              <a:gdLst>
                <a:gd name="T0" fmla="*/ 531 w 1064"/>
                <a:gd name="T1" fmla="*/ 0 h 1063"/>
                <a:gd name="T2" fmla="*/ 589 w 1064"/>
                <a:gd name="T3" fmla="*/ 3 h 1063"/>
                <a:gd name="T4" fmla="*/ 646 w 1064"/>
                <a:gd name="T5" fmla="*/ 12 h 1063"/>
                <a:gd name="T6" fmla="*/ 700 w 1064"/>
                <a:gd name="T7" fmla="*/ 27 h 1063"/>
                <a:gd name="T8" fmla="*/ 751 w 1064"/>
                <a:gd name="T9" fmla="*/ 47 h 1063"/>
                <a:gd name="T10" fmla="*/ 800 w 1064"/>
                <a:gd name="T11" fmla="*/ 72 h 1063"/>
                <a:gd name="T12" fmla="*/ 846 w 1064"/>
                <a:gd name="T13" fmla="*/ 103 h 1063"/>
                <a:gd name="T14" fmla="*/ 888 w 1064"/>
                <a:gd name="T15" fmla="*/ 137 h 1063"/>
                <a:gd name="T16" fmla="*/ 926 w 1064"/>
                <a:gd name="T17" fmla="*/ 175 h 1063"/>
                <a:gd name="T18" fmla="*/ 961 w 1064"/>
                <a:gd name="T19" fmla="*/ 217 h 1063"/>
                <a:gd name="T20" fmla="*/ 991 w 1064"/>
                <a:gd name="T21" fmla="*/ 264 h 1063"/>
                <a:gd name="T22" fmla="*/ 1016 w 1064"/>
                <a:gd name="T23" fmla="*/ 312 h 1063"/>
                <a:gd name="T24" fmla="*/ 1036 w 1064"/>
                <a:gd name="T25" fmla="*/ 364 h 1063"/>
                <a:gd name="T26" fmla="*/ 1051 w 1064"/>
                <a:gd name="T27" fmla="*/ 417 h 1063"/>
                <a:gd name="T28" fmla="*/ 1060 w 1064"/>
                <a:gd name="T29" fmla="*/ 473 h 1063"/>
                <a:gd name="T30" fmla="*/ 1064 w 1064"/>
                <a:gd name="T31" fmla="*/ 531 h 1063"/>
                <a:gd name="T32" fmla="*/ 1060 w 1064"/>
                <a:gd name="T33" fmla="*/ 589 h 1063"/>
                <a:gd name="T34" fmla="*/ 1051 w 1064"/>
                <a:gd name="T35" fmla="*/ 646 h 1063"/>
                <a:gd name="T36" fmla="*/ 1036 w 1064"/>
                <a:gd name="T37" fmla="*/ 699 h 1063"/>
                <a:gd name="T38" fmla="*/ 1016 w 1064"/>
                <a:gd name="T39" fmla="*/ 751 h 1063"/>
                <a:gd name="T40" fmla="*/ 991 w 1064"/>
                <a:gd name="T41" fmla="*/ 799 h 1063"/>
                <a:gd name="T42" fmla="*/ 961 w 1064"/>
                <a:gd name="T43" fmla="*/ 846 h 1063"/>
                <a:gd name="T44" fmla="*/ 926 w 1064"/>
                <a:gd name="T45" fmla="*/ 888 h 1063"/>
                <a:gd name="T46" fmla="*/ 888 w 1064"/>
                <a:gd name="T47" fmla="*/ 927 h 1063"/>
                <a:gd name="T48" fmla="*/ 846 w 1064"/>
                <a:gd name="T49" fmla="*/ 960 h 1063"/>
                <a:gd name="T50" fmla="*/ 800 w 1064"/>
                <a:gd name="T51" fmla="*/ 991 h 1063"/>
                <a:gd name="T52" fmla="*/ 751 w 1064"/>
                <a:gd name="T53" fmla="*/ 1016 h 1063"/>
                <a:gd name="T54" fmla="*/ 700 w 1064"/>
                <a:gd name="T55" fmla="*/ 1036 h 1063"/>
                <a:gd name="T56" fmla="*/ 646 w 1064"/>
                <a:gd name="T57" fmla="*/ 1051 h 1063"/>
                <a:gd name="T58" fmla="*/ 589 w 1064"/>
                <a:gd name="T59" fmla="*/ 1060 h 1063"/>
                <a:gd name="T60" fmla="*/ 531 w 1064"/>
                <a:gd name="T61" fmla="*/ 1063 h 1063"/>
                <a:gd name="T62" fmla="*/ 473 w 1064"/>
                <a:gd name="T63" fmla="*/ 1060 h 1063"/>
                <a:gd name="T64" fmla="*/ 418 w 1064"/>
                <a:gd name="T65" fmla="*/ 1051 h 1063"/>
                <a:gd name="T66" fmla="*/ 364 w 1064"/>
                <a:gd name="T67" fmla="*/ 1036 h 1063"/>
                <a:gd name="T68" fmla="*/ 312 w 1064"/>
                <a:gd name="T69" fmla="*/ 1016 h 1063"/>
                <a:gd name="T70" fmla="*/ 264 w 1064"/>
                <a:gd name="T71" fmla="*/ 991 h 1063"/>
                <a:gd name="T72" fmla="*/ 218 w 1064"/>
                <a:gd name="T73" fmla="*/ 960 h 1063"/>
                <a:gd name="T74" fmla="*/ 176 w 1064"/>
                <a:gd name="T75" fmla="*/ 927 h 1063"/>
                <a:gd name="T76" fmla="*/ 137 w 1064"/>
                <a:gd name="T77" fmla="*/ 888 h 1063"/>
                <a:gd name="T78" fmla="*/ 103 w 1064"/>
                <a:gd name="T79" fmla="*/ 846 h 1063"/>
                <a:gd name="T80" fmla="*/ 73 w 1064"/>
                <a:gd name="T81" fmla="*/ 799 h 1063"/>
                <a:gd name="T82" fmla="*/ 47 w 1064"/>
                <a:gd name="T83" fmla="*/ 751 h 1063"/>
                <a:gd name="T84" fmla="*/ 27 w 1064"/>
                <a:gd name="T85" fmla="*/ 699 h 1063"/>
                <a:gd name="T86" fmla="*/ 13 w 1064"/>
                <a:gd name="T87" fmla="*/ 646 h 1063"/>
                <a:gd name="T88" fmla="*/ 3 w 1064"/>
                <a:gd name="T89" fmla="*/ 589 h 1063"/>
                <a:gd name="T90" fmla="*/ 0 w 1064"/>
                <a:gd name="T91" fmla="*/ 531 h 1063"/>
                <a:gd name="T92" fmla="*/ 3 w 1064"/>
                <a:gd name="T93" fmla="*/ 473 h 1063"/>
                <a:gd name="T94" fmla="*/ 13 w 1064"/>
                <a:gd name="T95" fmla="*/ 417 h 1063"/>
                <a:gd name="T96" fmla="*/ 27 w 1064"/>
                <a:gd name="T97" fmla="*/ 364 h 1063"/>
                <a:gd name="T98" fmla="*/ 47 w 1064"/>
                <a:gd name="T99" fmla="*/ 312 h 1063"/>
                <a:gd name="T100" fmla="*/ 73 w 1064"/>
                <a:gd name="T101" fmla="*/ 264 h 1063"/>
                <a:gd name="T102" fmla="*/ 103 w 1064"/>
                <a:gd name="T103" fmla="*/ 217 h 1063"/>
                <a:gd name="T104" fmla="*/ 137 w 1064"/>
                <a:gd name="T105" fmla="*/ 175 h 1063"/>
                <a:gd name="T106" fmla="*/ 176 w 1064"/>
                <a:gd name="T107" fmla="*/ 137 h 1063"/>
                <a:gd name="T108" fmla="*/ 218 w 1064"/>
                <a:gd name="T109" fmla="*/ 103 h 1063"/>
                <a:gd name="T110" fmla="*/ 264 w 1064"/>
                <a:gd name="T111" fmla="*/ 72 h 1063"/>
                <a:gd name="T112" fmla="*/ 312 w 1064"/>
                <a:gd name="T113" fmla="*/ 47 h 1063"/>
                <a:gd name="T114" fmla="*/ 364 w 1064"/>
                <a:gd name="T115" fmla="*/ 27 h 1063"/>
                <a:gd name="T116" fmla="*/ 418 w 1064"/>
                <a:gd name="T117" fmla="*/ 12 h 1063"/>
                <a:gd name="T118" fmla="*/ 473 w 1064"/>
                <a:gd name="T119" fmla="*/ 3 h 1063"/>
                <a:gd name="T120" fmla="*/ 531 w 1064"/>
                <a:gd name="T121" fmla="*/ 0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64" h="1063">
                  <a:moveTo>
                    <a:pt x="531" y="0"/>
                  </a:moveTo>
                  <a:lnTo>
                    <a:pt x="589" y="3"/>
                  </a:lnTo>
                  <a:lnTo>
                    <a:pt x="646" y="12"/>
                  </a:lnTo>
                  <a:lnTo>
                    <a:pt x="700" y="27"/>
                  </a:lnTo>
                  <a:lnTo>
                    <a:pt x="751" y="47"/>
                  </a:lnTo>
                  <a:lnTo>
                    <a:pt x="800" y="72"/>
                  </a:lnTo>
                  <a:lnTo>
                    <a:pt x="846" y="103"/>
                  </a:lnTo>
                  <a:lnTo>
                    <a:pt x="888" y="137"/>
                  </a:lnTo>
                  <a:lnTo>
                    <a:pt x="926" y="175"/>
                  </a:lnTo>
                  <a:lnTo>
                    <a:pt x="961" y="217"/>
                  </a:lnTo>
                  <a:lnTo>
                    <a:pt x="991" y="264"/>
                  </a:lnTo>
                  <a:lnTo>
                    <a:pt x="1016" y="312"/>
                  </a:lnTo>
                  <a:lnTo>
                    <a:pt x="1036" y="364"/>
                  </a:lnTo>
                  <a:lnTo>
                    <a:pt x="1051" y="417"/>
                  </a:lnTo>
                  <a:lnTo>
                    <a:pt x="1060" y="473"/>
                  </a:lnTo>
                  <a:lnTo>
                    <a:pt x="1064" y="531"/>
                  </a:lnTo>
                  <a:lnTo>
                    <a:pt x="1060" y="589"/>
                  </a:lnTo>
                  <a:lnTo>
                    <a:pt x="1051" y="646"/>
                  </a:lnTo>
                  <a:lnTo>
                    <a:pt x="1036" y="699"/>
                  </a:lnTo>
                  <a:lnTo>
                    <a:pt x="1016" y="751"/>
                  </a:lnTo>
                  <a:lnTo>
                    <a:pt x="991" y="799"/>
                  </a:lnTo>
                  <a:lnTo>
                    <a:pt x="961" y="846"/>
                  </a:lnTo>
                  <a:lnTo>
                    <a:pt x="926" y="888"/>
                  </a:lnTo>
                  <a:lnTo>
                    <a:pt x="888" y="927"/>
                  </a:lnTo>
                  <a:lnTo>
                    <a:pt x="846" y="960"/>
                  </a:lnTo>
                  <a:lnTo>
                    <a:pt x="800" y="991"/>
                  </a:lnTo>
                  <a:lnTo>
                    <a:pt x="751" y="1016"/>
                  </a:lnTo>
                  <a:lnTo>
                    <a:pt x="700" y="1036"/>
                  </a:lnTo>
                  <a:lnTo>
                    <a:pt x="646" y="1051"/>
                  </a:lnTo>
                  <a:lnTo>
                    <a:pt x="589" y="1060"/>
                  </a:lnTo>
                  <a:lnTo>
                    <a:pt x="531" y="1063"/>
                  </a:lnTo>
                  <a:lnTo>
                    <a:pt x="473" y="1060"/>
                  </a:lnTo>
                  <a:lnTo>
                    <a:pt x="418" y="1051"/>
                  </a:lnTo>
                  <a:lnTo>
                    <a:pt x="364" y="1036"/>
                  </a:lnTo>
                  <a:lnTo>
                    <a:pt x="312" y="1016"/>
                  </a:lnTo>
                  <a:lnTo>
                    <a:pt x="264" y="991"/>
                  </a:lnTo>
                  <a:lnTo>
                    <a:pt x="218" y="960"/>
                  </a:lnTo>
                  <a:lnTo>
                    <a:pt x="176" y="927"/>
                  </a:lnTo>
                  <a:lnTo>
                    <a:pt x="137" y="888"/>
                  </a:lnTo>
                  <a:lnTo>
                    <a:pt x="103" y="846"/>
                  </a:lnTo>
                  <a:lnTo>
                    <a:pt x="73" y="799"/>
                  </a:lnTo>
                  <a:lnTo>
                    <a:pt x="47" y="751"/>
                  </a:lnTo>
                  <a:lnTo>
                    <a:pt x="27" y="699"/>
                  </a:lnTo>
                  <a:lnTo>
                    <a:pt x="13" y="646"/>
                  </a:lnTo>
                  <a:lnTo>
                    <a:pt x="3" y="589"/>
                  </a:lnTo>
                  <a:lnTo>
                    <a:pt x="0" y="531"/>
                  </a:lnTo>
                  <a:lnTo>
                    <a:pt x="3" y="473"/>
                  </a:lnTo>
                  <a:lnTo>
                    <a:pt x="13" y="417"/>
                  </a:lnTo>
                  <a:lnTo>
                    <a:pt x="27" y="364"/>
                  </a:lnTo>
                  <a:lnTo>
                    <a:pt x="47" y="312"/>
                  </a:lnTo>
                  <a:lnTo>
                    <a:pt x="73" y="264"/>
                  </a:lnTo>
                  <a:lnTo>
                    <a:pt x="103" y="217"/>
                  </a:lnTo>
                  <a:lnTo>
                    <a:pt x="137" y="175"/>
                  </a:lnTo>
                  <a:lnTo>
                    <a:pt x="176" y="137"/>
                  </a:lnTo>
                  <a:lnTo>
                    <a:pt x="218" y="103"/>
                  </a:lnTo>
                  <a:lnTo>
                    <a:pt x="264" y="72"/>
                  </a:lnTo>
                  <a:lnTo>
                    <a:pt x="312" y="47"/>
                  </a:lnTo>
                  <a:lnTo>
                    <a:pt x="364" y="27"/>
                  </a:lnTo>
                  <a:lnTo>
                    <a:pt x="418" y="12"/>
                  </a:lnTo>
                  <a:lnTo>
                    <a:pt x="473" y="3"/>
                  </a:lnTo>
                  <a:lnTo>
                    <a:pt x="5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6" name="Прямоугольник 85"/>
          <p:cNvSpPr/>
          <p:nvPr/>
        </p:nvSpPr>
        <p:spPr>
          <a:xfrm>
            <a:off x="869451" y="3755132"/>
            <a:ext cx="19023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солидация компаний квазигоссектора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Freeform 27"/>
          <p:cNvSpPr>
            <a:spLocks noEditPoints="1"/>
          </p:cNvSpPr>
          <p:nvPr/>
        </p:nvSpPr>
        <p:spPr bwMode="auto">
          <a:xfrm>
            <a:off x="6855412" y="3041951"/>
            <a:ext cx="410722" cy="570304"/>
          </a:xfrm>
          <a:custGeom>
            <a:avLst/>
            <a:gdLst>
              <a:gd name="T0" fmla="*/ 134 w 232"/>
              <a:gd name="T1" fmla="*/ 22 h 330"/>
              <a:gd name="T2" fmla="*/ 103 w 232"/>
              <a:gd name="T3" fmla="*/ 47 h 330"/>
              <a:gd name="T4" fmla="*/ 85 w 232"/>
              <a:gd name="T5" fmla="*/ 92 h 330"/>
              <a:gd name="T6" fmla="*/ 85 w 232"/>
              <a:gd name="T7" fmla="*/ 141 h 330"/>
              <a:gd name="T8" fmla="*/ 103 w 232"/>
              <a:gd name="T9" fmla="*/ 184 h 330"/>
              <a:gd name="T10" fmla="*/ 134 w 232"/>
              <a:gd name="T11" fmla="*/ 210 h 330"/>
              <a:gd name="T12" fmla="*/ 168 w 232"/>
              <a:gd name="T13" fmla="*/ 210 h 330"/>
              <a:gd name="T14" fmla="*/ 198 w 232"/>
              <a:gd name="T15" fmla="*/ 184 h 330"/>
              <a:gd name="T16" fmla="*/ 216 w 232"/>
              <a:gd name="T17" fmla="*/ 141 h 330"/>
              <a:gd name="T18" fmla="*/ 216 w 232"/>
              <a:gd name="T19" fmla="*/ 92 h 330"/>
              <a:gd name="T20" fmla="*/ 198 w 232"/>
              <a:gd name="T21" fmla="*/ 47 h 330"/>
              <a:gd name="T22" fmla="*/ 168 w 232"/>
              <a:gd name="T23" fmla="*/ 22 h 330"/>
              <a:gd name="T24" fmla="*/ 150 w 232"/>
              <a:gd name="T25" fmla="*/ 0 h 330"/>
              <a:gd name="T26" fmla="*/ 191 w 232"/>
              <a:gd name="T27" fmla="*/ 15 h 330"/>
              <a:gd name="T28" fmla="*/ 222 w 232"/>
              <a:gd name="T29" fmla="*/ 58 h 330"/>
              <a:gd name="T30" fmla="*/ 232 w 232"/>
              <a:gd name="T31" fmla="*/ 116 h 330"/>
              <a:gd name="T32" fmla="*/ 222 w 232"/>
              <a:gd name="T33" fmla="*/ 174 h 330"/>
              <a:gd name="T34" fmla="*/ 192 w 232"/>
              <a:gd name="T35" fmla="*/ 215 h 330"/>
              <a:gd name="T36" fmla="*/ 156 w 232"/>
              <a:gd name="T37" fmla="*/ 232 h 330"/>
              <a:gd name="T38" fmla="*/ 119 w 232"/>
              <a:gd name="T39" fmla="*/ 223 h 330"/>
              <a:gd name="T40" fmla="*/ 86 w 232"/>
              <a:gd name="T41" fmla="*/ 232 h 330"/>
              <a:gd name="T42" fmla="*/ 85 w 232"/>
              <a:gd name="T43" fmla="*/ 244 h 330"/>
              <a:gd name="T44" fmla="*/ 80 w 232"/>
              <a:gd name="T45" fmla="*/ 254 h 330"/>
              <a:gd name="T46" fmla="*/ 24 w 232"/>
              <a:gd name="T47" fmla="*/ 330 h 330"/>
              <a:gd name="T48" fmla="*/ 6 w 232"/>
              <a:gd name="T49" fmla="*/ 323 h 330"/>
              <a:gd name="T50" fmla="*/ 0 w 232"/>
              <a:gd name="T51" fmla="*/ 297 h 330"/>
              <a:gd name="T52" fmla="*/ 54 w 232"/>
              <a:gd name="T53" fmla="*/ 215 h 330"/>
              <a:gd name="T54" fmla="*/ 61 w 232"/>
              <a:gd name="T55" fmla="*/ 210 h 330"/>
              <a:gd name="T56" fmla="*/ 70 w 232"/>
              <a:gd name="T57" fmla="*/ 208 h 330"/>
              <a:gd name="T58" fmla="*/ 76 w 232"/>
              <a:gd name="T59" fmla="*/ 162 h 330"/>
              <a:gd name="T60" fmla="*/ 70 w 232"/>
              <a:gd name="T61" fmla="*/ 108 h 330"/>
              <a:gd name="T62" fmla="*/ 80 w 232"/>
              <a:gd name="T63" fmla="*/ 56 h 330"/>
              <a:gd name="T64" fmla="*/ 110 w 232"/>
              <a:gd name="T65" fmla="*/ 15 h 330"/>
              <a:gd name="T66" fmla="*/ 150 w 232"/>
              <a:gd name="T67" fmla="*/ 0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330">
                <a:moveTo>
                  <a:pt x="150" y="19"/>
                </a:moveTo>
                <a:lnTo>
                  <a:pt x="134" y="22"/>
                </a:lnTo>
                <a:lnTo>
                  <a:pt x="118" y="31"/>
                </a:lnTo>
                <a:lnTo>
                  <a:pt x="103" y="47"/>
                </a:lnTo>
                <a:lnTo>
                  <a:pt x="91" y="68"/>
                </a:lnTo>
                <a:lnTo>
                  <a:pt x="85" y="92"/>
                </a:lnTo>
                <a:lnTo>
                  <a:pt x="83" y="116"/>
                </a:lnTo>
                <a:lnTo>
                  <a:pt x="85" y="141"/>
                </a:lnTo>
                <a:lnTo>
                  <a:pt x="91" y="163"/>
                </a:lnTo>
                <a:lnTo>
                  <a:pt x="103" y="184"/>
                </a:lnTo>
                <a:lnTo>
                  <a:pt x="118" y="201"/>
                </a:lnTo>
                <a:lnTo>
                  <a:pt x="134" y="210"/>
                </a:lnTo>
                <a:lnTo>
                  <a:pt x="150" y="212"/>
                </a:lnTo>
                <a:lnTo>
                  <a:pt x="168" y="210"/>
                </a:lnTo>
                <a:lnTo>
                  <a:pt x="185" y="201"/>
                </a:lnTo>
                <a:lnTo>
                  <a:pt x="198" y="184"/>
                </a:lnTo>
                <a:lnTo>
                  <a:pt x="210" y="163"/>
                </a:lnTo>
                <a:lnTo>
                  <a:pt x="216" y="141"/>
                </a:lnTo>
                <a:lnTo>
                  <a:pt x="219" y="116"/>
                </a:lnTo>
                <a:lnTo>
                  <a:pt x="216" y="92"/>
                </a:lnTo>
                <a:lnTo>
                  <a:pt x="210" y="68"/>
                </a:lnTo>
                <a:lnTo>
                  <a:pt x="198" y="47"/>
                </a:lnTo>
                <a:lnTo>
                  <a:pt x="185" y="31"/>
                </a:lnTo>
                <a:lnTo>
                  <a:pt x="168" y="22"/>
                </a:lnTo>
                <a:lnTo>
                  <a:pt x="150" y="19"/>
                </a:lnTo>
                <a:close/>
                <a:moveTo>
                  <a:pt x="150" y="0"/>
                </a:moveTo>
                <a:lnTo>
                  <a:pt x="171" y="3"/>
                </a:lnTo>
                <a:lnTo>
                  <a:pt x="191" y="15"/>
                </a:lnTo>
                <a:lnTo>
                  <a:pt x="208" y="34"/>
                </a:lnTo>
                <a:lnTo>
                  <a:pt x="222" y="58"/>
                </a:lnTo>
                <a:lnTo>
                  <a:pt x="229" y="86"/>
                </a:lnTo>
                <a:lnTo>
                  <a:pt x="232" y="116"/>
                </a:lnTo>
                <a:lnTo>
                  <a:pt x="229" y="146"/>
                </a:lnTo>
                <a:lnTo>
                  <a:pt x="222" y="174"/>
                </a:lnTo>
                <a:lnTo>
                  <a:pt x="208" y="198"/>
                </a:lnTo>
                <a:lnTo>
                  <a:pt x="192" y="215"/>
                </a:lnTo>
                <a:lnTo>
                  <a:pt x="174" y="227"/>
                </a:lnTo>
                <a:lnTo>
                  <a:pt x="156" y="232"/>
                </a:lnTo>
                <a:lnTo>
                  <a:pt x="137" y="230"/>
                </a:lnTo>
                <a:lnTo>
                  <a:pt x="119" y="223"/>
                </a:lnTo>
                <a:lnTo>
                  <a:pt x="101" y="210"/>
                </a:lnTo>
                <a:lnTo>
                  <a:pt x="86" y="232"/>
                </a:lnTo>
                <a:lnTo>
                  <a:pt x="86" y="238"/>
                </a:lnTo>
                <a:lnTo>
                  <a:pt x="85" y="244"/>
                </a:lnTo>
                <a:lnTo>
                  <a:pt x="83" y="250"/>
                </a:lnTo>
                <a:lnTo>
                  <a:pt x="80" y="254"/>
                </a:lnTo>
                <a:lnTo>
                  <a:pt x="33" y="323"/>
                </a:lnTo>
                <a:lnTo>
                  <a:pt x="24" y="330"/>
                </a:lnTo>
                <a:lnTo>
                  <a:pt x="15" y="330"/>
                </a:lnTo>
                <a:lnTo>
                  <a:pt x="6" y="323"/>
                </a:lnTo>
                <a:lnTo>
                  <a:pt x="0" y="311"/>
                </a:lnTo>
                <a:lnTo>
                  <a:pt x="0" y="297"/>
                </a:lnTo>
                <a:lnTo>
                  <a:pt x="6" y="284"/>
                </a:lnTo>
                <a:lnTo>
                  <a:pt x="54" y="215"/>
                </a:lnTo>
                <a:lnTo>
                  <a:pt x="57" y="211"/>
                </a:lnTo>
                <a:lnTo>
                  <a:pt x="61" y="210"/>
                </a:lnTo>
                <a:lnTo>
                  <a:pt x="66" y="208"/>
                </a:lnTo>
                <a:lnTo>
                  <a:pt x="70" y="208"/>
                </a:lnTo>
                <a:lnTo>
                  <a:pt x="85" y="186"/>
                </a:lnTo>
                <a:lnTo>
                  <a:pt x="76" y="162"/>
                </a:lnTo>
                <a:lnTo>
                  <a:pt x="70" y="135"/>
                </a:lnTo>
                <a:lnTo>
                  <a:pt x="70" y="108"/>
                </a:lnTo>
                <a:lnTo>
                  <a:pt x="73" y="82"/>
                </a:lnTo>
                <a:lnTo>
                  <a:pt x="80" y="56"/>
                </a:lnTo>
                <a:lnTo>
                  <a:pt x="92" y="34"/>
                </a:lnTo>
                <a:lnTo>
                  <a:pt x="110" y="15"/>
                </a:lnTo>
                <a:lnTo>
                  <a:pt x="130" y="3"/>
                </a:lnTo>
                <a:lnTo>
                  <a:pt x="15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Заголовок 1"/>
          <p:cNvSpPr txBox="1">
            <a:spLocks/>
          </p:cNvSpPr>
          <p:nvPr/>
        </p:nvSpPr>
        <p:spPr>
          <a:xfrm>
            <a:off x="8759545" y="6453336"/>
            <a:ext cx="233053" cy="360040"/>
          </a:xfrm>
          <a:prstGeom prst="round2Same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>
              <a:buNone/>
            </a:pPr>
            <a:r>
              <a:rPr lang="ru-RU" sz="1200" b="0" dirty="0" smtClean="0"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7</a:t>
            </a:r>
            <a:endParaRPr lang="ru-RU" sz="1200" b="0" dirty="0"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89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0" y="1988840"/>
            <a:ext cx="9144000" cy="20812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kk-KZ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  <a:t/>
            </a:r>
            <a:br>
              <a:rPr lang="kk-KZ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</a:br>
            <a:r>
              <a:rPr lang="kk-KZ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  <a:t/>
            </a:r>
            <a:br>
              <a:rPr lang="kk-KZ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</a:br>
            <a:r>
              <a:rPr lang="ru-RU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  <a:t>Благодарю за внимание!</a:t>
            </a:r>
            <a:br>
              <a:rPr lang="ru-RU" sz="3600" b="1" cap="all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Arial" pitchFamily="34" charset="0"/>
                <a:cs typeface="Arial" pitchFamily="34" charset="0"/>
              </a:rPr>
            </a:br>
            <a:endParaRPr lang="ru-RU" sz="3600" b="1" cap="all" dirty="0">
              <a:ln w="0"/>
              <a:solidFill>
                <a:schemeClr val="accent4">
                  <a:lumMod val="75000"/>
                </a:schemeClr>
              </a:solidFill>
              <a:effectLst>
                <a:reflection blurRad="12700" stA="50000" endPos="50000" dist="5000" dir="5400000" sy="-100000" rotWithShape="0"/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82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ysClr val="window" lastClr="FFFFFF"/>
      </a:lt1>
      <a:dk2>
        <a:srgbClr val="DE4B38"/>
      </a:dk2>
      <a:lt2>
        <a:srgbClr val="F2C716"/>
      </a:lt2>
      <a:accent1>
        <a:srgbClr val="2D3E50"/>
      </a:accent1>
      <a:accent2>
        <a:srgbClr val="F37520"/>
      </a:accent2>
      <a:accent3>
        <a:srgbClr val="3B92CD"/>
      </a:accent3>
      <a:accent4>
        <a:srgbClr val="D84A56"/>
      </a:accent4>
      <a:accent5>
        <a:srgbClr val="15AB8E"/>
      </a:accent5>
      <a:accent6>
        <a:srgbClr val="68B545"/>
      </a:accent6>
      <a:hlink>
        <a:srgbClr val="5B6871"/>
      </a:hlink>
      <a:folHlink>
        <a:srgbClr val="3737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4</TotalTime>
  <Words>483</Words>
  <Application>Microsoft Office PowerPoint</Application>
  <PresentationFormat>Экран (4:3)</PresentationFormat>
  <Paragraphs>210</Paragraphs>
  <Slides>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«НОВЫЕ ВОЗМОЖНОСТИ РАЗВИТИЯ В УСЛОВИЯХ ЧЕТВЕРТОЙ ПРОМЫШЛЕННОЙ РЕВОЛЮЦИИ»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авительственный час   «О ходе реализации программы приватизации»</dc:title>
  <dc:creator>Галина Загидулина</dc:creator>
  <cp:lastModifiedBy>Нурман Абылкасымов</cp:lastModifiedBy>
  <cp:revision>277</cp:revision>
  <dcterms:created xsi:type="dcterms:W3CDTF">2018-02-20T11:44:21Z</dcterms:created>
  <dcterms:modified xsi:type="dcterms:W3CDTF">2018-03-17T10:12:51Z</dcterms:modified>
</cp:coreProperties>
</file>